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3" r:id="rId2"/>
    <p:sldMasterId id="2147483693" r:id="rId3"/>
    <p:sldMasterId id="2147483707" r:id="rId4"/>
    <p:sldMasterId id="2147483753" r:id="rId5"/>
    <p:sldMasterId id="2147483761" r:id="rId6"/>
  </p:sldMasterIdLst>
  <p:notesMasterIdLst>
    <p:notesMasterId r:id="rId65"/>
  </p:notesMasterIdLst>
  <p:handoutMasterIdLst>
    <p:handoutMasterId r:id="rId66"/>
  </p:handoutMasterIdLst>
  <p:sldIdLst>
    <p:sldId id="256" r:id="rId7"/>
    <p:sldId id="292" r:id="rId8"/>
    <p:sldId id="284" r:id="rId9"/>
    <p:sldId id="293" r:id="rId10"/>
    <p:sldId id="258" r:id="rId11"/>
    <p:sldId id="259" r:id="rId12"/>
    <p:sldId id="267" r:id="rId13"/>
    <p:sldId id="260" r:id="rId14"/>
    <p:sldId id="263" r:id="rId15"/>
    <p:sldId id="285" r:id="rId16"/>
    <p:sldId id="264" r:id="rId17"/>
    <p:sldId id="266" r:id="rId18"/>
    <p:sldId id="268" r:id="rId19"/>
    <p:sldId id="270" r:id="rId20"/>
    <p:sldId id="291" r:id="rId21"/>
    <p:sldId id="274" r:id="rId22"/>
    <p:sldId id="294" r:id="rId23"/>
    <p:sldId id="295" r:id="rId24"/>
    <p:sldId id="296" r:id="rId25"/>
    <p:sldId id="297" r:id="rId26"/>
    <p:sldId id="298" r:id="rId27"/>
    <p:sldId id="333" r:id="rId28"/>
    <p:sldId id="299" r:id="rId29"/>
    <p:sldId id="300" r:id="rId30"/>
    <p:sldId id="301" r:id="rId31"/>
    <p:sldId id="302" r:id="rId32"/>
    <p:sldId id="303" r:id="rId33"/>
    <p:sldId id="304" r:id="rId34"/>
    <p:sldId id="305" r:id="rId35"/>
    <p:sldId id="306" r:id="rId36"/>
    <p:sldId id="334" r:id="rId37"/>
    <p:sldId id="335" r:id="rId38"/>
    <p:sldId id="307" r:id="rId39"/>
    <p:sldId id="336" r:id="rId40"/>
    <p:sldId id="337" r:id="rId41"/>
    <p:sldId id="338" r:id="rId42"/>
    <p:sldId id="339" r:id="rId43"/>
    <p:sldId id="340" r:id="rId44"/>
    <p:sldId id="308" r:id="rId45"/>
    <p:sldId id="311" r:id="rId46"/>
    <p:sldId id="312" r:id="rId47"/>
    <p:sldId id="313" r:id="rId48"/>
    <p:sldId id="314" r:id="rId49"/>
    <p:sldId id="315" r:id="rId50"/>
    <p:sldId id="316" r:id="rId51"/>
    <p:sldId id="317" r:id="rId52"/>
    <p:sldId id="318" r:id="rId53"/>
    <p:sldId id="319" r:id="rId54"/>
    <p:sldId id="320" r:id="rId55"/>
    <p:sldId id="309" r:id="rId56"/>
    <p:sldId id="326" r:id="rId57"/>
    <p:sldId id="327" r:id="rId58"/>
    <p:sldId id="328" r:id="rId59"/>
    <p:sldId id="329" r:id="rId60"/>
    <p:sldId id="330" r:id="rId61"/>
    <p:sldId id="331" r:id="rId62"/>
    <p:sldId id="332" r:id="rId63"/>
    <p:sldId id="310" r:id="rId64"/>
  </p:sldIdLst>
  <p:sldSz cx="9144000" cy="6858000" type="screen4x3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BF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352"/>
    <p:restoredTop sz="94640"/>
  </p:normalViewPr>
  <p:slideViewPr>
    <p:cSldViewPr snapToGrid="0" snapToObjects="1">
      <p:cViewPr varScale="1">
        <p:scale>
          <a:sx n="178" d="100"/>
          <a:sy n="178" d="100"/>
        </p:scale>
        <p:origin x="2746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51" d="100"/>
          <a:sy n="151" d="100"/>
        </p:scale>
        <p:origin x="563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Map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A5999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rgbClr val="A5999A"/>
                </a:solidFill>
              </a:ln>
              <a:effectLst/>
            </c:spPr>
          </c:marker>
          <c:dLbls>
            <c:spPr>
              <a:solidFill>
                <a:srgbClr val="A5999A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Alwyn Medium" charset="0"/>
                    <a:ea typeface="Alwyn Medium" charset="0"/>
                    <a:cs typeface="Alwyn Medium" charset="0"/>
                  </a:defRPr>
                </a:pPr>
                <a:endParaRPr lang="nl-NL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</c:v>
                </c:pt>
                <c:pt idx="1">
                  <c:v>5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DD-4A19-890E-CF9C1C1A49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6F014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6F0142"/>
                </a:solidFill>
              </a:ln>
              <a:effectLst/>
            </c:spPr>
          </c:marker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Alwyn Medium" charset="0"/>
                    <a:ea typeface="Alwyn Medium" charset="0"/>
                    <a:cs typeface="Alwyn Medium" charset="0"/>
                  </a:defRPr>
                </a:pPr>
                <a:endParaRPr lang="nl-NL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DD-4A19-890E-CF9C1C1A49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55392"/>
        <c:axId val="246195328"/>
      </c:lineChart>
      <c:catAx>
        <c:axId val="15935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Alwyn Bold"/>
                <a:ea typeface="Open Sans Light" panose="020B0306030504020204" pitchFamily="34" charset="0"/>
                <a:cs typeface="Alwyn Bold"/>
              </a:defRPr>
            </a:pPr>
            <a:endParaRPr lang="nl-NL"/>
          </a:p>
        </c:txPr>
        <c:crossAx val="246195328"/>
        <c:crosses val="autoZero"/>
        <c:auto val="1"/>
        <c:lblAlgn val="ctr"/>
        <c:lblOffset val="100"/>
        <c:noMultiLvlLbl val="0"/>
      </c:catAx>
      <c:valAx>
        <c:axId val="2461953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935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A5999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rgbClr val="A5999A"/>
                </a:solidFill>
              </a:ln>
              <a:effectLst/>
            </c:spPr>
          </c:marker>
          <c:dLbls>
            <c:spPr>
              <a:solidFill>
                <a:srgbClr val="A5999A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Alwyn Medium" charset="0"/>
                    <a:ea typeface="Alwyn Medium" charset="0"/>
                    <a:cs typeface="Alwyn Medium" charset="0"/>
                  </a:defRPr>
                </a:pPr>
                <a:endParaRPr lang="nl-NL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</c:v>
                </c:pt>
                <c:pt idx="1">
                  <c:v>5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B2-49AE-AC47-BB32398ACF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6F014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6F0142"/>
                </a:solidFill>
              </a:ln>
              <a:effectLst/>
            </c:spPr>
          </c:marker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Alwyn Medium" charset="0"/>
                    <a:ea typeface="Alwyn Medium" charset="0"/>
                    <a:cs typeface="Alwyn Medium" charset="0"/>
                  </a:defRPr>
                </a:pPr>
                <a:endParaRPr lang="nl-NL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B2-49AE-AC47-BB32398ACF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dLbls>
            <c:spPr>
              <a:solidFill>
                <a:schemeClr val="accent3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Alwyn Medium" charset="0"/>
                    <a:ea typeface="Alwyn Medium" charset="0"/>
                    <a:cs typeface="Alwyn Medium" charset="0"/>
                  </a:defRPr>
                </a:pPr>
                <a:endParaRPr lang="nl-NL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0</c:v>
                </c:pt>
                <c:pt idx="1">
                  <c:v>12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18</c:v>
                </c:pt>
                <c:pt idx="6">
                  <c:v>20</c:v>
                </c:pt>
                <c:pt idx="7">
                  <c:v>22</c:v>
                </c:pt>
                <c:pt idx="8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5B2-49AE-AC47-BB32398AC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721536"/>
        <c:axId val="48332800"/>
      </c:lineChart>
      <c:catAx>
        <c:axId val="158721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Alwyn Bold"/>
                <a:ea typeface="Open Sans Light" panose="020B0306030504020204" pitchFamily="34" charset="0"/>
                <a:cs typeface="Alwyn Bold"/>
              </a:defRPr>
            </a:pPr>
            <a:endParaRPr lang="nl-NL"/>
          </a:p>
        </c:txPr>
        <c:crossAx val="48332800"/>
        <c:crosses val="autoZero"/>
        <c:auto val="1"/>
        <c:lblAlgn val="ctr"/>
        <c:lblOffset val="100"/>
        <c:noMultiLvlLbl val="0"/>
      </c:catAx>
      <c:valAx>
        <c:axId val="48332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8721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nl-N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1.2164857874395799E-3"/>
          <c:y val="0"/>
        </c:manualLayout>
      </c:layout>
      <c:overlay val="0"/>
      <c:txPr>
        <a:bodyPr/>
        <a:lstStyle/>
        <a:p>
          <a:pPr>
            <a:defRPr b="0">
              <a:solidFill>
                <a:schemeClr val="accent1"/>
              </a:solidFill>
              <a:latin typeface="Alwyn Medium" charset="0"/>
              <a:ea typeface="Alwyn Medium" charset="0"/>
              <a:cs typeface="Alwyn Medium" charset="0"/>
            </a:defRPr>
          </a:pPr>
          <a:endParaRPr lang="nl-N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A5999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rgbClr val="A5999A"/>
                </a:solidFill>
              </a:ln>
              <a:effectLst/>
            </c:spPr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</c:v>
                </c:pt>
                <c:pt idx="1">
                  <c:v>5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3F4-4A52-A8BD-924AC50C118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6F014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rgbClr val="6F0142"/>
                </a:solidFill>
              </a:ln>
              <a:effectLst/>
            </c:spPr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F4-4A52-A8BD-924AC50C118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cat>
            <c:numRef>
              <c:f>Sheet1!$A$2:$A$10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Sheet1!$D$2:$D$10</c:f>
              <c:numCache>
                <c:formatCode>General</c:formatCode>
                <c:ptCount val="9"/>
                <c:pt idx="0">
                  <c:v>10</c:v>
                </c:pt>
                <c:pt idx="1">
                  <c:v>12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18</c:v>
                </c:pt>
                <c:pt idx="6">
                  <c:v>20</c:v>
                </c:pt>
                <c:pt idx="7">
                  <c:v>22</c:v>
                </c:pt>
                <c:pt idx="8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F4-4A52-A8BD-924AC50C11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943744"/>
        <c:axId val="48336256"/>
      </c:lineChart>
      <c:catAx>
        <c:axId val="15894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Alwyn Bold"/>
                <a:ea typeface="Open Sans Light" panose="020B0306030504020204" pitchFamily="34" charset="0"/>
                <a:cs typeface="Alwyn Bold"/>
              </a:defRPr>
            </a:pPr>
            <a:endParaRPr lang="nl-NL"/>
          </a:p>
        </c:txPr>
        <c:crossAx val="48336256"/>
        <c:crosses val="autoZero"/>
        <c:auto val="1"/>
        <c:lblAlgn val="ctr"/>
        <c:lblOffset val="100"/>
        <c:noMultiLvlLbl val="0"/>
      </c:catAx>
      <c:valAx>
        <c:axId val="48336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>
                <a:solidFill>
                  <a:schemeClr val="accent1"/>
                </a:solidFill>
                <a:latin typeface="Alwyn Medium" charset="0"/>
                <a:ea typeface="Alwyn Medium" charset="0"/>
                <a:cs typeface="Alwyn Medium" charset="0"/>
              </a:defRPr>
            </a:pPr>
            <a:endParaRPr lang="nl-NL"/>
          </a:p>
        </c:txPr>
        <c:crossAx val="158943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15277710486401"/>
          <c:y val="3.2573272090988599E-2"/>
          <c:w val="0.29684722289513599"/>
          <c:h val="7.8958871873944902E-2"/>
        </c:manualLayout>
      </c:layout>
      <c:overlay val="0"/>
      <c:txPr>
        <a:bodyPr/>
        <a:lstStyle/>
        <a:p>
          <a:pPr>
            <a:defRPr>
              <a:solidFill>
                <a:schemeClr val="accent1"/>
              </a:solidFill>
              <a:latin typeface="Alwyn Medium" charset="0"/>
              <a:ea typeface="Alwyn Medium" charset="0"/>
              <a:cs typeface="Alwyn Medium" charset="0"/>
            </a:defRPr>
          </a:pPr>
          <a:endParaRPr lang="nl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nl-N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antal leden</a:t>
            </a:r>
            <a:r>
              <a:rPr lang="en-US" baseline="0"/>
              <a:t> per werkgroep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F1665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C$2:$C$12</c:f>
              <c:strCache>
                <c:ptCount val="11"/>
                <c:pt idx="0">
                  <c:v>Privacy</c:v>
                </c:pt>
                <c:pt idx="1">
                  <c:v>Onderwijs</c:v>
                </c:pt>
                <c:pt idx="2">
                  <c:v>IPUs</c:v>
                </c:pt>
                <c:pt idx="3">
                  <c:v>Kosten</c:v>
                </c:pt>
                <c:pt idx="4">
                  <c:v>Evaluatie</c:v>
                </c:pt>
                <c:pt idx="5">
                  <c:v>Inspiratienetwerk</c:v>
                </c:pt>
                <c:pt idx="6">
                  <c:v>Dashbobard</c:v>
                </c:pt>
                <c:pt idx="7">
                  <c:v>Implementatie</c:v>
                </c:pt>
                <c:pt idx="8">
                  <c:v>Bekostiging</c:v>
                </c:pt>
                <c:pt idx="9">
                  <c:v>Data &amp; IT</c:v>
                </c:pt>
                <c:pt idx="10">
                  <c:v>PROMs/PREMs</c:v>
                </c:pt>
              </c:strCache>
            </c:strRef>
          </c:cat>
          <c:val>
            <c:numRef>
              <c:f>Blad1!$D$2:$D$12</c:f>
              <c:numCache>
                <c:formatCode>General</c:formatCode>
                <c:ptCount val="11"/>
                <c:pt idx="0">
                  <c:v>6</c:v>
                </c:pt>
                <c:pt idx="1">
                  <c:v>9</c:v>
                </c:pt>
                <c:pt idx="3">
                  <c:v>7</c:v>
                </c:pt>
                <c:pt idx="4">
                  <c:v>15</c:v>
                </c:pt>
                <c:pt idx="5">
                  <c:v>21</c:v>
                </c:pt>
                <c:pt idx="8">
                  <c:v>23</c:v>
                </c:pt>
                <c:pt idx="9">
                  <c:v>34</c:v>
                </c:pt>
                <c:pt idx="10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0A-4693-BD7F-BF899320BCF0}"/>
            </c:ext>
          </c:extLst>
        </c:ser>
        <c:ser>
          <c:idx val="1"/>
          <c:order val="1"/>
          <c:tx>
            <c:strRef>
              <c:f>Blad1!$E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D5BD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C$2:$C$12</c:f>
              <c:strCache>
                <c:ptCount val="11"/>
                <c:pt idx="0">
                  <c:v>Privacy</c:v>
                </c:pt>
                <c:pt idx="1">
                  <c:v>Onderwijs</c:v>
                </c:pt>
                <c:pt idx="2">
                  <c:v>IPUs</c:v>
                </c:pt>
                <c:pt idx="3">
                  <c:v>Kosten</c:v>
                </c:pt>
                <c:pt idx="4">
                  <c:v>Evaluatie</c:v>
                </c:pt>
                <c:pt idx="5">
                  <c:v>Inspiratienetwerk</c:v>
                </c:pt>
                <c:pt idx="6">
                  <c:v>Dashbobard</c:v>
                </c:pt>
                <c:pt idx="7">
                  <c:v>Implementatie</c:v>
                </c:pt>
                <c:pt idx="8">
                  <c:v>Bekostiging</c:v>
                </c:pt>
                <c:pt idx="9">
                  <c:v>Data &amp; IT</c:v>
                </c:pt>
                <c:pt idx="10">
                  <c:v>PROMs/PREMs</c:v>
                </c:pt>
              </c:strCache>
            </c:strRef>
          </c:cat>
          <c:val>
            <c:numRef>
              <c:f>Blad1!$E$2:$E$12</c:f>
              <c:numCache>
                <c:formatCode>General</c:formatCode>
                <c:ptCount val="11"/>
                <c:pt idx="0">
                  <c:v>12</c:v>
                </c:pt>
                <c:pt idx="1">
                  <c:v>15</c:v>
                </c:pt>
                <c:pt idx="2">
                  <c:v>20</c:v>
                </c:pt>
                <c:pt idx="3">
                  <c:v>29</c:v>
                </c:pt>
                <c:pt idx="4">
                  <c:v>32</c:v>
                </c:pt>
                <c:pt idx="5">
                  <c:v>40</c:v>
                </c:pt>
                <c:pt idx="6">
                  <c:v>42</c:v>
                </c:pt>
                <c:pt idx="7">
                  <c:v>52</c:v>
                </c:pt>
                <c:pt idx="8">
                  <c:v>56</c:v>
                </c:pt>
                <c:pt idx="9">
                  <c:v>66</c:v>
                </c:pt>
                <c:pt idx="1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0A-4693-BD7F-BF899320BC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572200"/>
        <c:axId val="502572528"/>
      </c:barChart>
      <c:catAx>
        <c:axId val="502572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02572528"/>
        <c:crosses val="autoZero"/>
        <c:auto val="1"/>
        <c:lblAlgn val="ctr"/>
        <c:lblOffset val="100"/>
        <c:noMultiLvlLbl val="0"/>
      </c:catAx>
      <c:valAx>
        <c:axId val="5025725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2572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8AA901B7-97A3-A047-8C55-F9E068B0CF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D15E7EA-00B5-E44A-88D6-3B3FC085BBB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5B724-8DF2-DC4A-9D1D-C86BF12B7BC1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5037704-58AB-EA42-B5A6-F0D46883ECA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C291C83-5171-294F-A0AC-8449BBD310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55BF00-9E62-D949-AFC6-C46CFE124CA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708079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986CC1-23F9-C442-8B7F-D4ACA2247B4E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7FFECC-5038-8244-B397-8C533C880A5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8811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A9546-D0E5-4BB6-AE3E-7C2336743554}" type="slidenum">
              <a: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3251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A9546-D0E5-4BB6-AE3E-7C2336743554}" type="slidenum">
              <a: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8899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A6C42-367D-E14D-861D-B516C82EEF7F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633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Laurents</a:t>
            </a:r>
          </a:p>
          <a:p>
            <a:r>
              <a:rPr lang="nl-NL" dirty="0"/>
              <a:t>Steven Giesbers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A6C42-367D-E14D-861D-B516C82EEF7F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240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emf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pagina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77F24E6A-F7BB-4B4F-AF1D-7C3748F8EE20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999" y="1224000"/>
            <a:ext cx="3996000" cy="56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950723"/>
            <a:ext cx="5713029" cy="1280369"/>
          </a:xfrm>
        </p:spPr>
        <p:txBody>
          <a:bodyPr anchor="t" anchorCtr="0"/>
          <a:lstStyle>
            <a:lvl1pPr algn="l">
              <a:lnSpc>
                <a:spcPts val="4400"/>
              </a:lnSpc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2000" y="4416357"/>
            <a:ext cx="5713029" cy="1280369"/>
          </a:xfrm>
        </p:spPr>
        <p:txBody>
          <a:bodyPr/>
          <a:lstStyle>
            <a:lvl1pPr marL="0" indent="0" algn="l">
              <a:lnSpc>
                <a:spcPts val="2760"/>
              </a:lnSpc>
              <a:buNone/>
              <a:defRPr sz="2300" i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3ADA4733-BD72-2949-91BB-4672B52ADC55}"/>
              </a:ext>
            </a:extLst>
          </p:cNvPr>
          <p:cNvSpPr/>
          <p:nvPr userDrawn="1"/>
        </p:nvSpPr>
        <p:spPr>
          <a:xfrm>
            <a:off x="-1" y="6768000"/>
            <a:ext cx="6588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66A4270-91F3-FD4A-A2B0-7501EB4942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25336"/>
            <a:ext cx="1066958" cy="6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893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en quot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>
            <a:extLst>
              <a:ext uri="{FF2B5EF4-FFF2-40B4-BE49-F238E27FC236}">
                <a16:creationId xmlns:a16="http://schemas.microsoft.com/office/drawing/2014/main" id="{AFA75E06-98E7-6F4F-A6A1-B0EFA7BF1204}"/>
              </a:ext>
            </a:extLst>
          </p:cNvPr>
          <p:cNvSpPr/>
          <p:nvPr userDrawn="1"/>
        </p:nvSpPr>
        <p:spPr>
          <a:xfrm>
            <a:off x="-1" y="0"/>
            <a:ext cx="5940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59999" y="4121998"/>
            <a:ext cx="4433924" cy="1478702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5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5940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5940000" y="6768000"/>
            <a:ext cx="3204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D2777D1-938F-D047-88D4-2B5E8A2D2873}"/>
              </a:ext>
            </a:extLst>
          </p:cNvPr>
          <p:cNvSpPr txBox="1">
            <a:spLocks/>
          </p:cNvSpPr>
          <p:nvPr userDrawn="1"/>
        </p:nvSpPr>
        <p:spPr>
          <a:xfrm>
            <a:off x="432000" y="5000017"/>
            <a:ext cx="3459064" cy="726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760"/>
              </a:lnSpc>
              <a:spcBef>
                <a:spcPts val="0"/>
              </a:spcBef>
              <a:buFont typeface="Arial" panose="020B0604020202020204" pitchFamily="34" charset="0"/>
              <a:buNone/>
              <a:defRPr sz="2300" i="1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2400" dirty="0">
              <a:solidFill>
                <a:schemeClr val="accent1"/>
              </a:solidFill>
            </a:endParaRPr>
          </a:p>
          <a:p>
            <a:endParaRPr lang="nl-NL" sz="2400" dirty="0">
              <a:solidFill>
                <a:schemeClr val="accent1"/>
              </a:solidFill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D69CB59-3D2E-124A-87AC-0372E8071DA3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0"/>
            <a:ext cx="1655999" cy="1512582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1C24530-40B6-EA47-9564-592705FA73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259999" y="5774358"/>
            <a:ext cx="4087304" cy="368341"/>
          </a:xfrm>
        </p:spPr>
        <p:txBody>
          <a:bodyPr/>
          <a:lstStyle>
            <a:lvl1pPr marL="180000" indent="-180000">
              <a:buFont typeface="Systeemlettertype regulier"/>
              <a:buChar char="—"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naam toe te voegen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11256A2-6E2B-A14F-9DD2-02C8BBE24BF7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1259999" y="684000"/>
            <a:ext cx="5903999" cy="3240000"/>
          </a:xfrm>
          <a:solidFill>
            <a:schemeClr val="bg1">
              <a:lumMod val="85000"/>
            </a:schemeClr>
          </a:solidFill>
        </p:spPr>
        <p:txBody>
          <a:bodyPr lIns="360000" tIns="1080000" rIns="360000" anchor="t"/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8E86B4A-DD40-4A44-813E-CB3F946450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6000" y="5184000"/>
            <a:ext cx="827999" cy="82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34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en quot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>
            <a:extLst>
              <a:ext uri="{FF2B5EF4-FFF2-40B4-BE49-F238E27FC236}">
                <a16:creationId xmlns:a16="http://schemas.microsoft.com/office/drawing/2014/main" id="{AFA75E06-98E7-6F4F-A6A1-B0EFA7BF1204}"/>
              </a:ext>
            </a:extLst>
          </p:cNvPr>
          <p:cNvSpPr/>
          <p:nvPr userDrawn="1"/>
        </p:nvSpPr>
        <p:spPr>
          <a:xfrm>
            <a:off x="-1" y="0"/>
            <a:ext cx="2556000" cy="676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16425" y="3817345"/>
            <a:ext cx="4433924" cy="1470276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5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dirty="0"/>
              <a:t>Klik om de stijl te</a:t>
            </a:r>
            <a:br>
              <a:rPr lang="nl-NL" dirty="0"/>
            </a:br>
            <a:r>
              <a:rPr lang="nl-NL" dirty="0"/>
              <a:t>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2556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2556000" y="6768000"/>
            <a:ext cx="6588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D2777D1-938F-D047-88D4-2B5E8A2D2873}"/>
              </a:ext>
            </a:extLst>
          </p:cNvPr>
          <p:cNvSpPr txBox="1">
            <a:spLocks/>
          </p:cNvSpPr>
          <p:nvPr userDrawn="1"/>
        </p:nvSpPr>
        <p:spPr>
          <a:xfrm>
            <a:off x="432000" y="5000017"/>
            <a:ext cx="3459064" cy="726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760"/>
              </a:lnSpc>
              <a:spcBef>
                <a:spcPts val="0"/>
              </a:spcBef>
              <a:buFont typeface="Arial" panose="020B0604020202020204" pitchFamily="34" charset="0"/>
              <a:buNone/>
              <a:defRPr sz="2300" i="1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2400" dirty="0">
              <a:solidFill>
                <a:schemeClr val="accent1"/>
              </a:solidFill>
            </a:endParaRPr>
          </a:p>
          <a:p>
            <a:endParaRPr lang="nl-NL" sz="2400" dirty="0">
              <a:solidFill>
                <a:schemeClr val="accent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1C24530-40B6-EA47-9564-592705FA73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13723" y="5458459"/>
            <a:ext cx="3913702" cy="368341"/>
          </a:xfrm>
        </p:spPr>
        <p:txBody>
          <a:bodyPr/>
          <a:lstStyle>
            <a:lvl1pPr marL="180000" indent="-180000">
              <a:buFont typeface="Systeemlettertype regulier"/>
              <a:buChar char="—"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naam toe te voeg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6C6374E4-F263-9C4D-ABE6-FE45F0C723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149" y="4883080"/>
            <a:ext cx="827999" cy="827999"/>
          </a:xfrm>
          <a:prstGeom prst="rect">
            <a:avLst/>
          </a:prstGeom>
        </p:spPr>
      </p:pic>
      <p:sp>
        <p:nvSpPr>
          <p:cNvPr id="30" name="Tijdelijke aanduiding voor afbeelding 29">
            <a:extLst>
              <a:ext uri="{FF2B5EF4-FFF2-40B4-BE49-F238E27FC236}">
                <a16:creationId xmlns:a16="http://schemas.microsoft.com/office/drawing/2014/main" id="{D3B8E5C8-C554-3542-97F1-90CA9118570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432000" y="1188000"/>
            <a:ext cx="4248000" cy="4500000"/>
          </a:xfrm>
          <a:custGeom>
            <a:avLst/>
            <a:gdLst>
              <a:gd name="connsiteX0" fmla="*/ 0 w 4248000"/>
              <a:gd name="connsiteY0" fmla="*/ 0 h 4500000"/>
              <a:gd name="connsiteX1" fmla="*/ 4248000 w 4248000"/>
              <a:gd name="connsiteY1" fmla="*/ 0 h 4500000"/>
              <a:gd name="connsiteX2" fmla="*/ 4248000 w 4248000"/>
              <a:gd name="connsiteY2" fmla="*/ 252000 h 4500000"/>
              <a:gd name="connsiteX3" fmla="*/ 4248000 w 4248000"/>
              <a:gd name="connsiteY3" fmla="*/ 1604864 h 4500000"/>
              <a:gd name="connsiteX4" fmla="*/ 4248000 w 4248000"/>
              <a:gd name="connsiteY4" fmla="*/ 2376000 h 4500000"/>
              <a:gd name="connsiteX5" fmla="*/ 2124000 w 4248000"/>
              <a:gd name="connsiteY5" fmla="*/ 2376000 h 4500000"/>
              <a:gd name="connsiteX6" fmla="*/ 2124000 w 4248000"/>
              <a:gd name="connsiteY6" fmla="*/ 4500000 h 4500000"/>
              <a:gd name="connsiteX7" fmla="*/ 0 w 4248000"/>
              <a:gd name="connsiteY7" fmla="*/ 2376000 h 4500000"/>
              <a:gd name="connsiteX8" fmla="*/ 0 w 4248000"/>
              <a:gd name="connsiteY8" fmla="*/ 1604864 h 4500000"/>
              <a:gd name="connsiteX9" fmla="*/ 0 w 4248000"/>
              <a:gd name="connsiteY9" fmla="*/ 252000 h 45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48000" h="4500000">
                <a:moveTo>
                  <a:pt x="0" y="0"/>
                </a:moveTo>
                <a:lnTo>
                  <a:pt x="4248000" y="0"/>
                </a:lnTo>
                <a:lnTo>
                  <a:pt x="4248000" y="252000"/>
                </a:lnTo>
                <a:lnTo>
                  <a:pt x="4248000" y="1604864"/>
                </a:lnTo>
                <a:lnTo>
                  <a:pt x="4248000" y="2376000"/>
                </a:lnTo>
                <a:lnTo>
                  <a:pt x="2124000" y="2376000"/>
                </a:lnTo>
                <a:lnTo>
                  <a:pt x="2124000" y="4500000"/>
                </a:lnTo>
                <a:cubicBezTo>
                  <a:pt x="950947" y="4500000"/>
                  <a:pt x="0" y="3549053"/>
                  <a:pt x="0" y="2376000"/>
                </a:cubicBezTo>
                <a:lnTo>
                  <a:pt x="0" y="1604864"/>
                </a:lnTo>
                <a:lnTo>
                  <a:pt x="0" y="252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360000" tIns="1080000" rIns="360000" anchor="t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038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en quote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>
            <a:extLst>
              <a:ext uri="{FF2B5EF4-FFF2-40B4-BE49-F238E27FC236}">
                <a16:creationId xmlns:a16="http://schemas.microsoft.com/office/drawing/2014/main" id="{AFA75E06-98E7-6F4F-A6A1-B0EFA7BF1204}"/>
              </a:ext>
            </a:extLst>
          </p:cNvPr>
          <p:cNvSpPr/>
          <p:nvPr userDrawn="1"/>
        </p:nvSpPr>
        <p:spPr>
          <a:xfrm>
            <a:off x="-1" y="0"/>
            <a:ext cx="6588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11256A2-6E2B-A14F-9DD2-02C8BBE24BF7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1440000" y="432000"/>
            <a:ext cx="6156000" cy="4183199"/>
          </a:xfrm>
          <a:solidFill>
            <a:schemeClr val="bg1">
              <a:lumMod val="85000"/>
            </a:schemeClr>
          </a:solidFill>
        </p:spPr>
        <p:txBody>
          <a:bodyPr lIns="360000" tIns="1080000" rIns="360000" anchor="t"/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40000" y="4722651"/>
            <a:ext cx="4433924" cy="1507700"/>
          </a:xfrm>
        </p:spPr>
        <p:txBody>
          <a:bodyPr anchor="b" anchorCtr="0"/>
          <a:lstStyle>
            <a:lvl1pPr algn="l">
              <a:lnSpc>
                <a:spcPts val="3000"/>
              </a:lnSpc>
              <a:defRPr sz="25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dirty="0"/>
              <a:t>Klik om de stijl </a:t>
            </a:r>
            <a:br>
              <a:rPr lang="nl-NL" dirty="0"/>
            </a:br>
            <a:r>
              <a:rPr lang="nl-NL" dirty="0"/>
              <a:t>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6588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6588000" y="6768000"/>
            <a:ext cx="2556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D2777D1-938F-D047-88D4-2B5E8A2D2873}"/>
              </a:ext>
            </a:extLst>
          </p:cNvPr>
          <p:cNvSpPr txBox="1">
            <a:spLocks/>
          </p:cNvSpPr>
          <p:nvPr userDrawn="1"/>
        </p:nvSpPr>
        <p:spPr>
          <a:xfrm>
            <a:off x="432000" y="5000017"/>
            <a:ext cx="3459064" cy="726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760"/>
              </a:lnSpc>
              <a:spcBef>
                <a:spcPts val="0"/>
              </a:spcBef>
              <a:buFont typeface="Arial" panose="020B0604020202020204" pitchFamily="34" charset="0"/>
              <a:buNone/>
              <a:defRPr sz="2300" i="1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2400" dirty="0">
              <a:solidFill>
                <a:schemeClr val="accent1"/>
              </a:solidFill>
            </a:endParaRPr>
          </a:p>
          <a:p>
            <a:endParaRPr lang="nl-NL" sz="2400" dirty="0">
              <a:solidFill>
                <a:schemeClr val="accent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1C24530-40B6-EA47-9564-592705FA73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939999" y="5909242"/>
            <a:ext cx="2755350" cy="368341"/>
          </a:xfrm>
        </p:spPr>
        <p:txBody>
          <a:bodyPr/>
          <a:lstStyle>
            <a:lvl1pPr marL="180000" indent="-180000">
              <a:buFont typeface="Systeemlettertype regulier"/>
              <a:buChar char="—"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naam toe te voegen</a:t>
            </a:r>
          </a:p>
        </p:txBody>
      </p:sp>
      <p:sp>
        <p:nvSpPr>
          <p:cNvPr id="24" name="Tijdelijke aanduiding voor tekst 23">
            <a:extLst>
              <a:ext uri="{FF2B5EF4-FFF2-40B4-BE49-F238E27FC236}">
                <a16:creationId xmlns:a16="http://schemas.microsoft.com/office/drawing/2014/main" id="{1E8246CB-4841-BE49-8002-2A691BA2A8AC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 rot="10800000">
            <a:off x="6588000" y="2318400"/>
            <a:ext cx="2015999" cy="2015999"/>
          </a:xfrm>
          <a:custGeom>
            <a:avLst/>
            <a:gdLst>
              <a:gd name="connsiteX0" fmla="*/ 0 w 1980000"/>
              <a:gd name="connsiteY0" fmla="*/ 0 h 1980000"/>
              <a:gd name="connsiteX1" fmla="*/ 990000 w 1980000"/>
              <a:gd name="connsiteY1" fmla="*/ 0 h 1980000"/>
              <a:gd name="connsiteX2" fmla="*/ 1980000 w 1980000"/>
              <a:gd name="connsiteY2" fmla="*/ 0 h 1980000"/>
              <a:gd name="connsiteX3" fmla="*/ 1980000 w 1980000"/>
              <a:gd name="connsiteY3" fmla="*/ 990000 h 1980000"/>
              <a:gd name="connsiteX4" fmla="*/ 990000 w 1980000"/>
              <a:gd name="connsiteY4" fmla="*/ 990000 h 1980000"/>
              <a:gd name="connsiteX5" fmla="*/ 990000 w 1980000"/>
              <a:gd name="connsiteY5" fmla="*/ 1980000 h 1980000"/>
              <a:gd name="connsiteX6" fmla="*/ 888780 w 1980000"/>
              <a:gd name="connsiteY6" fmla="*/ 1974889 h 1980000"/>
              <a:gd name="connsiteX7" fmla="*/ 1 w 1980000"/>
              <a:gd name="connsiteY7" fmla="*/ 990000 h 1980000"/>
              <a:gd name="connsiteX8" fmla="*/ 0 w 1980000"/>
              <a:gd name="connsiteY8" fmla="*/ 990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000" h="1980000">
                <a:moveTo>
                  <a:pt x="0" y="0"/>
                </a:moveTo>
                <a:lnTo>
                  <a:pt x="990000" y="0"/>
                </a:lnTo>
                <a:lnTo>
                  <a:pt x="1980000" y="0"/>
                </a:lnTo>
                <a:lnTo>
                  <a:pt x="1980000" y="990000"/>
                </a:lnTo>
                <a:lnTo>
                  <a:pt x="990000" y="990000"/>
                </a:lnTo>
                <a:lnTo>
                  <a:pt x="990000" y="1980000"/>
                </a:lnTo>
                <a:lnTo>
                  <a:pt x="888780" y="1974889"/>
                </a:lnTo>
                <a:cubicBezTo>
                  <a:pt x="389566" y="1924191"/>
                  <a:pt x="1" y="1502590"/>
                  <a:pt x="1" y="990000"/>
                </a:cubicBezTo>
                <a:lnTo>
                  <a:pt x="0" y="990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5" name="Tijdelijke aanduiding voor tekst 24">
            <a:extLst>
              <a:ext uri="{FF2B5EF4-FFF2-40B4-BE49-F238E27FC236}">
                <a16:creationId xmlns:a16="http://schemas.microsoft.com/office/drawing/2014/main" id="{9FB0F329-01A4-8E4A-8801-2102A501C1DF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1224000" y="756000"/>
            <a:ext cx="432000" cy="432000"/>
          </a:xfrm>
          <a:custGeom>
            <a:avLst/>
            <a:gdLst>
              <a:gd name="connsiteX0" fmla="*/ 0 w 1980000"/>
              <a:gd name="connsiteY0" fmla="*/ 0 h 1980000"/>
              <a:gd name="connsiteX1" fmla="*/ 990000 w 1980000"/>
              <a:gd name="connsiteY1" fmla="*/ 0 h 1980000"/>
              <a:gd name="connsiteX2" fmla="*/ 1980000 w 1980000"/>
              <a:gd name="connsiteY2" fmla="*/ 0 h 1980000"/>
              <a:gd name="connsiteX3" fmla="*/ 1980000 w 1980000"/>
              <a:gd name="connsiteY3" fmla="*/ 990000 h 1980000"/>
              <a:gd name="connsiteX4" fmla="*/ 990000 w 1980000"/>
              <a:gd name="connsiteY4" fmla="*/ 990000 h 1980000"/>
              <a:gd name="connsiteX5" fmla="*/ 990000 w 1980000"/>
              <a:gd name="connsiteY5" fmla="*/ 1980000 h 1980000"/>
              <a:gd name="connsiteX6" fmla="*/ 888780 w 1980000"/>
              <a:gd name="connsiteY6" fmla="*/ 1974889 h 1980000"/>
              <a:gd name="connsiteX7" fmla="*/ 1 w 1980000"/>
              <a:gd name="connsiteY7" fmla="*/ 990000 h 1980000"/>
              <a:gd name="connsiteX8" fmla="*/ 0 w 1980000"/>
              <a:gd name="connsiteY8" fmla="*/ 990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000" h="1980000">
                <a:moveTo>
                  <a:pt x="0" y="0"/>
                </a:moveTo>
                <a:lnTo>
                  <a:pt x="990000" y="0"/>
                </a:lnTo>
                <a:lnTo>
                  <a:pt x="1980000" y="0"/>
                </a:lnTo>
                <a:lnTo>
                  <a:pt x="1980000" y="990000"/>
                </a:lnTo>
                <a:lnTo>
                  <a:pt x="990000" y="990000"/>
                </a:lnTo>
                <a:lnTo>
                  <a:pt x="990000" y="1980000"/>
                </a:lnTo>
                <a:lnTo>
                  <a:pt x="888780" y="1974889"/>
                </a:lnTo>
                <a:cubicBezTo>
                  <a:pt x="389566" y="1924191"/>
                  <a:pt x="1" y="1502590"/>
                  <a:pt x="1" y="990000"/>
                </a:cubicBezTo>
                <a:lnTo>
                  <a:pt x="0" y="990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43027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6588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6588000" y="6768000"/>
            <a:ext cx="2556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53763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 en ond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tekst"/>
          <p:cNvSpPr txBox="1"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r>
              <a:t>Titeltekst</a:t>
            </a:r>
          </a:p>
        </p:txBody>
      </p:sp>
      <p:sp>
        <p:nvSpPr>
          <p:cNvPr id="12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892969" y="354508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3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188288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 - driem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Afbeelding"/>
          <p:cNvSpPr>
            <a:spLocks noGrp="1"/>
          </p:cNvSpPr>
          <p:nvPr>
            <p:ph type="pic" sz="quarter" idx="13"/>
          </p:nvPr>
        </p:nvSpPr>
        <p:spPr>
          <a:xfrm>
            <a:off x="4723805" y="3580805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Afbeelding"/>
          <p:cNvSpPr>
            <a:spLocks noGrp="1"/>
          </p:cNvSpPr>
          <p:nvPr>
            <p:ph type="pic" sz="quarter" idx="14"/>
          </p:nvPr>
        </p:nvSpPr>
        <p:spPr>
          <a:xfrm>
            <a:off x="4723805" y="625078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Afbeelding"/>
          <p:cNvSpPr>
            <a:spLocks noGrp="1"/>
          </p:cNvSpPr>
          <p:nvPr>
            <p:ph type="pic" sz="half" idx="15"/>
          </p:nvPr>
        </p:nvSpPr>
        <p:spPr>
          <a:xfrm>
            <a:off x="669726" y="625078"/>
            <a:ext cx="3750469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5708942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ita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892969" y="4473773"/>
            <a:ext cx="7358063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 i="1"/>
            </a:lvl1pPr>
          </a:lstStyle>
          <a:p>
            <a:r>
              <a:t>–Johnny Appleseed</a:t>
            </a:r>
          </a:p>
        </p:txBody>
      </p:sp>
      <p:sp>
        <p:nvSpPr>
          <p:cNvPr id="94" name="&quot;Typ hier een citaat.&quot;"/>
          <p:cNvSpPr txBox="1">
            <a:spLocks noGrp="1"/>
          </p:cNvSpPr>
          <p:nvPr>
            <p:ph type="body" sz="quarter" idx="14"/>
          </p:nvPr>
        </p:nvSpPr>
        <p:spPr>
          <a:xfrm>
            <a:off x="892969" y="2979431"/>
            <a:ext cx="7358063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"Typ hier een citaat." </a:t>
            </a:r>
          </a:p>
        </p:txBody>
      </p:sp>
      <p:sp>
        <p:nvSpPr>
          <p:cNvPr id="95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339055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Afbeelding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8034499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423863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ta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892969" y="4473773"/>
            <a:ext cx="7358063" cy="32439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87" i="1"/>
            </a:lvl1pPr>
            <a:lvl2pPr marL="546924" indent="-234396" algn="ctr">
              <a:spcBef>
                <a:spcPts val="0"/>
              </a:spcBef>
              <a:defRPr sz="1687" i="1"/>
            </a:lvl2pPr>
            <a:lvl3pPr marL="859452" indent="-234396" algn="ctr">
              <a:spcBef>
                <a:spcPts val="0"/>
              </a:spcBef>
              <a:defRPr sz="1687" i="1"/>
            </a:lvl3pPr>
            <a:lvl4pPr marL="1171980" indent="-234396" algn="ctr">
              <a:spcBef>
                <a:spcPts val="0"/>
              </a:spcBef>
              <a:defRPr sz="1687" i="1"/>
            </a:lvl4pPr>
            <a:lvl5pPr marL="1484508" indent="-234396" algn="ctr">
              <a:spcBef>
                <a:spcPts val="0"/>
              </a:spcBef>
              <a:defRPr sz="1687" i="1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39" name="&quot;Typ hier een citaat.&quot;"/>
          <p:cNvSpPr txBox="1">
            <a:spLocks noGrp="1"/>
          </p:cNvSpPr>
          <p:nvPr>
            <p:ph type="body" sz="quarter" idx="13"/>
          </p:nvPr>
        </p:nvSpPr>
        <p:spPr>
          <a:xfrm>
            <a:off x="892969" y="3000314"/>
            <a:ext cx="7358063" cy="428749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" name="Dianummer"/>
          <p:cNvSpPr txBox="1"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1EC34F-2666-401E-AFD3-D8D07F9E0A5D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796041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E6B90295-8AAA-BD44-8290-D96F019529C3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999" y="1224000"/>
            <a:ext cx="3996000" cy="56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950723"/>
            <a:ext cx="5713029" cy="1280369"/>
          </a:xfrm>
        </p:spPr>
        <p:txBody>
          <a:bodyPr anchor="t" anchorCtr="0"/>
          <a:lstStyle>
            <a:lvl1pPr algn="l">
              <a:lnSpc>
                <a:spcPts val="4400"/>
              </a:lnSpc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000" y="4416357"/>
            <a:ext cx="5713029" cy="1280369"/>
          </a:xfrm>
        </p:spPr>
        <p:txBody>
          <a:bodyPr/>
          <a:lstStyle>
            <a:lvl1pPr marL="0" indent="0" algn="l">
              <a:lnSpc>
                <a:spcPts val="2760"/>
              </a:lnSpc>
              <a:buNone/>
              <a:defRPr sz="2300" i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ken om ondertite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3ADA4733-BD72-2949-91BB-4672B52ADC55}"/>
              </a:ext>
            </a:extLst>
          </p:cNvPr>
          <p:cNvSpPr/>
          <p:nvPr userDrawn="1"/>
        </p:nvSpPr>
        <p:spPr>
          <a:xfrm>
            <a:off x="-1" y="6768000"/>
            <a:ext cx="6588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66A4270-91F3-FD4A-A2B0-7501EB4942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25336"/>
            <a:ext cx="1066958" cy="673200"/>
          </a:xfrm>
          <a:prstGeom prst="rect">
            <a:avLst/>
          </a:prstGeom>
        </p:spPr>
      </p:pic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9E7B5F56-CB32-EF4A-AA60-709FAD1A5087}"/>
              </a:ext>
            </a:extLst>
          </p:cNvPr>
          <p:cNvCxnSpPr/>
          <p:nvPr userDrawn="1"/>
        </p:nvCxnSpPr>
        <p:spPr>
          <a:xfrm>
            <a:off x="1815831" y="201038"/>
            <a:ext cx="0" cy="918000"/>
          </a:xfrm>
          <a:prstGeom prst="line">
            <a:avLst/>
          </a:prstGeom>
          <a:ln w="444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4935F42-0241-E046-B1B0-23E3E7D3255A}"/>
              </a:ext>
            </a:extLst>
          </p:cNvPr>
          <p:cNvSpPr>
            <a:spLocks noGrp="1" noChangeAspect="1"/>
          </p:cNvSpPr>
          <p:nvPr>
            <p:ph type="pic" idx="13" hasCustomPrompt="1"/>
          </p:nvPr>
        </p:nvSpPr>
        <p:spPr>
          <a:xfrm>
            <a:off x="1984442" y="325337"/>
            <a:ext cx="1952017" cy="673200"/>
          </a:xfrm>
          <a:solidFill>
            <a:schemeClr val="bg1"/>
          </a:solidFill>
        </p:spPr>
        <p:txBody>
          <a:bodyPr lIns="180000" tIns="108000" rIns="180000" anchor="t"/>
          <a:lstStyle>
            <a:lvl1pPr marL="0" indent="0" algn="ctr">
              <a:lnSpc>
                <a:spcPts val="1860"/>
              </a:lnSpc>
              <a:buNone/>
              <a:defRPr sz="13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Klik om logo toe</a:t>
            </a:r>
            <a:br>
              <a:rPr lang="nl-NL" dirty="0"/>
            </a:br>
            <a:r>
              <a:rPr lang="nl-NL" dirty="0"/>
              <a:t>te voe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9619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EB8B00-4653-4779-AC90-120DEA2CA1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7F980CC-B9B2-444B-91C8-AE9B53A7C9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838D236-EEB7-4769-A11B-BD5BFC0E8F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F2829D6-AC27-4FB8-A8CA-E8ED46356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4E9582E-028B-423E-88FC-2B374E2E3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57883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0C9F3D-77EE-4331-B806-FB6B04C56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BA1D0EE-BAD8-40B6-9982-358BE572BC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42F8FEC-BCAB-41A6-BE64-AE842B2F8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BF244B-1A7E-44D8-9627-DB098744F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1FB8827-F503-45EF-AAE6-207E2A52E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96380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7691BB-A919-4C61-8205-8176E1630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628B4B0-4966-4457-B975-F0C786F6EE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A9F2A41-26BF-4629-B42A-402C1AFA1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227B9A6-6632-49A9-BF26-6C53BB74C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3D999F-3584-4BDC-8CC9-24BE7580A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920465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2121C3-27B8-496F-AE64-A17BDF08D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CEB442A-123E-4CD9-A571-B7E27AADB3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80485EE-0058-4D76-9D1C-5F9F694246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285189B-E10A-4ACD-AEEE-6431BDCC4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EA1F4F75-2624-45CD-AEC3-65CBAF566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2A21244-DA14-4F85-ADCB-95BAC15B3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25414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8A5827-8813-447A-8290-AE621BCDD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A00CBA2-EF5D-4605-A940-BF4FE5324B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6D6E41F-289D-4900-B22F-360DBECEFF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7535DD9-02C1-4C9C-9C65-DDE634AE5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F7218969-CBDB-4A19-8D56-F5C1B69FBD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7120B595-1B4B-440E-B307-7A5FF99C7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CD81CE8B-DF8B-4B0E-ADE7-22C859F51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019B73AC-E0BF-4F19-B75A-895E2B93B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84022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61D68A-53B1-40D2-BA81-FAAEA8F12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9D63B93-01C3-4690-875C-2F85A693E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B0D8460-A706-40C4-AC56-28161BBEF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127BDEB-57BD-4146-9D63-B7FDD7248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89426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BF5FB76-A277-4EAA-944D-BF1254644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81D3793-9183-43A0-8235-00E5522A6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F562665-3651-4367-980B-F4C32EC51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20644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E97E0-6BCE-4335-97F4-6EC53E1FC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6F59BE3-22DB-47AF-8B7F-D404D95591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ADD4C98-0A27-4793-B706-63F3D0D557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0177A3BC-8329-43DB-8D1D-7E7DAD98A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4718628-7880-422C-91AA-AD7FAC729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D39FFD9-70EA-4EBA-9119-F55CD209F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88521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7D6624-7C2F-4530-8343-0226F53B6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9C51980A-A02F-4347-8CB2-16F7D8A791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ECC0255-2B7D-439E-82E9-9B06A04980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7EC8ED6-FDC3-4BEE-9DFF-A4FFF49E6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3897DB5-54AC-4B9E-9815-A2E76B085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5B0C565-185D-4731-82B7-300EC39AD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51421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C4B81-E53C-4DD2-8D40-42D133487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1EA3967D-A523-461F-BBA5-96500A13B6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3F5796C-76E0-4140-A6F5-D84C48CE5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941F891-1144-4877-B13F-C5D89CCB1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EBA6E80-982C-4C62-9D92-C2A4A7A04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6338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>
            <a:extLst>
              <a:ext uri="{FF2B5EF4-FFF2-40B4-BE49-F238E27FC236}">
                <a16:creationId xmlns:a16="http://schemas.microsoft.com/office/drawing/2014/main" id="{CB1B57D8-2797-BF44-BD8B-743B8C20A6C6}"/>
              </a:ext>
            </a:extLst>
          </p:cNvPr>
          <p:cNvPicPr preferRelativeResize="0"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999" y="1224000"/>
            <a:ext cx="3996000" cy="56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950723"/>
            <a:ext cx="5713029" cy="1280369"/>
          </a:xfrm>
        </p:spPr>
        <p:txBody>
          <a:bodyPr anchor="t" anchorCtr="0"/>
          <a:lstStyle>
            <a:lvl1pPr algn="l">
              <a:lnSpc>
                <a:spcPts val="4400"/>
              </a:lnSpc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000" y="4416358"/>
            <a:ext cx="5713029" cy="726332"/>
          </a:xfrm>
        </p:spPr>
        <p:txBody>
          <a:bodyPr/>
          <a:lstStyle>
            <a:lvl1pPr marL="0" indent="0" algn="l">
              <a:lnSpc>
                <a:spcPts val="2760"/>
              </a:lnSpc>
              <a:buNone/>
              <a:defRPr sz="2300" i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ken om de ondertite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3ADA4733-BD72-2949-91BB-4672B52ADC55}"/>
              </a:ext>
            </a:extLst>
          </p:cNvPr>
          <p:cNvSpPr/>
          <p:nvPr userDrawn="1"/>
        </p:nvSpPr>
        <p:spPr>
          <a:xfrm>
            <a:off x="0" y="6768000"/>
            <a:ext cx="6588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66A4270-91F3-FD4A-A2B0-7501EB4942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25336"/>
            <a:ext cx="1066958" cy="673200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4935F42-0241-E046-B1B0-23E3E7D3255A}"/>
              </a:ext>
            </a:extLst>
          </p:cNvPr>
          <p:cNvSpPr>
            <a:spLocks noGrp="1" noChangeAspect="1"/>
          </p:cNvSpPr>
          <p:nvPr>
            <p:ph type="pic" idx="13" hasCustomPrompt="1"/>
          </p:nvPr>
        </p:nvSpPr>
        <p:spPr>
          <a:xfrm>
            <a:off x="1044001" y="5753406"/>
            <a:ext cx="1225786" cy="429873"/>
          </a:xfrm>
          <a:solidFill>
            <a:schemeClr val="bg1"/>
          </a:solidFill>
        </p:spPr>
        <p:txBody>
          <a:bodyPr lIns="180000" tIns="72000" rIns="180000" anchor="t"/>
          <a:lstStyle>
            <a:lvl1pPr marL="0" indent="0" algn="ctr">
              <a:lnSpc>
                <a:spcPts val="1860"/>
              </a:lnSpc>
              <a:buNone/>
              <a:defRPr sz="13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Logo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0342F23-4A8C-244A-9CD4-13A84B7F52D9}"/>
              </a:ext>
            </a:extLst>
          </p:cNvPr>
          <p:cNvSpPr>
            <a:spLocks noGrp="1" noChangeAspect="1"/>
          </p:cNvSpPr>
          <p:nvPr>
            <p:ph type="pic" idx="14" hasCustomPrompt="1"/>
          </p:nvPr>
        </p:nvSpPr>
        <p:spPr>
          <a:xfrm>
            <a:off x="2366963" y="5753406"/>
            <a:ext cx="1225786" cy="429873"/>
          </a:xfrm>
          <a:solidFill>
            <a:schemeClr val="bg1"/>
          </a:solidFill>
        </p:spPr>
        <p:txBody>
          <a:bodyPr lIns="180000" tIns="72000" rIns="180000" anchor="t"/>
          <a:lstStyle>
            <a:lvl1pPr marL="0" indent="0" algn="ctr">
              <a:lnSpc>
                <a:spcPts val="1860"/>
              </a:lnSpc>
              <a:buNone/>
              <a:defRPr sz="13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Logo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EDDB45B-15DE-9347-A106-943D98795205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1044001" y="5523265"/>
            <a:ext cx="3437999" cy="171197"/>
          </a:xfrm>
        </p:spPr>
        <p:txBody>
          <a:bodyPr/>
          <a:lstStyle>
            <a:lvl1pPr marL="0" indent="0">
              <a:lnSpc>
                <a:spcPts val="860"/>
              </a:lnSpc>
              <a:buNone/>
              <a:defRPr sz="85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Tussenkopje:</a:t>
            </a:r>
          </a:p>
        </p:txBody>
      </p:sp>
      <p:pic>
        <p:nvPicPr>
          <p:cNvPr id="18" name="Afbeelding 17" descr="Afbeelding met plein&#10;&#10;Automatisch gegenereerde beschrijving">
            <a:extLst>
              <a:ext uri="{FF2B5EF4-FFF2-40B4-BE49-F238E27FC236}">
                <a16:creationId xmlns:a16="http://schemas.microsoft.com/office/drawing/2014/main" id="{AAF7F49A-5A90-4B4D-B3CC-F508F4E9497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45" y="5472000"/>
            <a:ext cx="431800" cy="62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033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54502A7D-D704-432B-B884-8806ABE7C6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3A96CF8-BADE-4942-A6A8-4C489B52B9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D0CA238-13C7-4043-B813-2F096E425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9E56D56-1A73-4013-945F-70ADCD476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38E2ECE-149B-4CAA-81BA-0A4E1E07C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0742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kstpag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3FB272A6-A8AF-B34B-960E-E2F7F1339383}"/>
              </a:ext>
            </a:extLst>
          </p:cNvPr>
          <p:cNvSpPr/>
          <p:nvPr userDrawn="1"/>
        </p:nvSpPr>
        <p:spPr>
          <a:xfrm>
            <a:off x="0" y="0"/>
            <a:ext cx="1944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0" y="1060317"/>
            <a:ext cx="5832000" cy="605960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 dirty="0"/>
              <a:t>Klik om titel toe te voeg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30B7C2E-596C-7042-AF40-CB7AE79693F9}"/>
              </a:ext>
            </a:extLst>
          </p:cNvPr>
          <p:cNvSpPr/>
          <p:nvPr userDrawn="1"/>
        </p:nvSpPr>
        <p:spPr>
          <a:xfrm>
            <a:off x="-1" y="6768000"/>
            <a:ext cx="1944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D8F22873-9056-AC45-847C-02F87FA05423}"/>
              </a:ext>
            </a:extLst>
          </p:cNvPr>
          <p:cNvSpPr/>
          <p:nvPr userDrawn="1"/>
        </p:nvSpPr>
        <p:spPr>
          <a:xfrm>
            <a:off x="1944000" y="6768000"/>
            <a:ext cx="7200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4539F55-AB49-6A42-94B9-E7C5026D7B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1251" y="432000"/>
            <a:ext cx="825500" cy="82550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7F0DFBE7-5911-144E-9172-F0AE8C3660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48000" y="5598000"/>
            <a:ext cx="495300" cy="50800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F8949C-E57B-AC4A-8980-7EB3A4802E8E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2520001" y="435383"/>
            <a:ext cx="5831999" cy="554363"/>
          </a:xfrm>
        </p:spPr>
        <p:txBody>
          <a:bodyPr/>
          <a:lstStyle>
            <a:lvl1pPr marL="0" indent="0">
              <a:lnSpc>
                <a:spcPts val="3195"/>
              </a:lnSpc>
              <a:buNone/>
              <a:defRPr sz="2625">
                <a:solidFill>
                  <a:schemeClr val="accent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 dirty="0"/>
              <a:t>Klik om tekst te bewerke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92FDA0C-E548-0948-B70D-C6EED32E33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7048" y="1783404"/>
            <a:ext cx="5824952" cy="4322596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4132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elteks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57" name="Hoofdtekst - niveau één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58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851050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aar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PictoPatroon_pos_WHITE.png"/>
          <p:cNvPicPr>
            <a:picLocks noChangeAspect="1"/>
          </p:cNvPicPr>
          <p:nvPr userDrawn="1"/>
        </p:nvPicPr>
        <p:blipFill rotWithShape="1">
          <a:blip r:embed="rId2" cstate="print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2" r="30621" b="24489"/>
          <a:stretch/>
        </p:blipFill>
        <p:spPr>
          <a:xfrm>
            <a:off x="0" y="5061181"/>
            <a:ext cx="9144000" cy="1796819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 bwMode="auto">
          <a:xfrm>
            <a:off x="2915816" y="5637245"/>
            <a:ext cx="3240360" cy="57606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Shape 69" descr="antonius_logo_diap.png"/>
          <p:cNvPicPr preferRelativeResize="0"/>
          <p:nvPr userDrawn="1"/>
        </p:nvPicPr>
        <p:blipFill rotWithShape="1">
          <a:blip r:embed="rId3">
            <a:alphaModFix/>
          </a:blip>
          <a:srcRect t="52369"/>
          <a:stretch/>
        </p:blipFill>
        <p:spPr>
          <a:xfrm>
            <a:off x="3056098" y="5571390"/>
            <a:ext cx="3046212" cy="56939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jdelijke aanduiding voor tekst 12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1900024"/>
            <a:ext cx="9143998" cy="172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  <a:defRPr lang="nl-NL" sz="4000" kern="1200" cap="all" smtClean="0">
                <a:solidFill>
                  <a:srgbClr val="FFFFFF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cap="all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cap="all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cap="all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cap="all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nl-NL" dirty="0" smtClean="0"/>
              <a:t>PLACE TITLE HER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962841"/>
            <a:ext cx="9144001" cy="67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Clr>
                <a:schemeClr val="dk1"/>
              </a:buClr>
              <a:buSzPct val="61111"/>
              <a:buFont typeface="Arial"/>
              <a:buNone/>
              <a:defRPr lang="nl-NL" sz="1800" kern="1200" smtClean="0">
                <a:solidFill>
                  <a:schemeClr val="lt1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Clr>
                <a:schemeClr val="dk1"/>
              </a:buClr>
              <a:buSzPct val="61111"/>
              <a:buFont typeface="Arial"/>
              <a:buNone/>
            </a:pPr>
            <a:r>
              <a:rPr lang="nl-NL" dirty="0" err="1" smtClean="0"/>
              <a:t>Place</a:t>
            </a:r>
            <a:r>
              <a:rPr lang="nl-NL" dirty="0" smtClean="0"/>
              <a:t>, 2017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33785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wi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tekst 12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1900024"/>
            <a:ext cx="9143998" cy="172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  <a:defRPr lang="nl-NL" sz="4000" kern="1200" cap="all" smtClean="0">
                <a:solidFill>
                  <a:srgbClr val="6F014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cap="all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cap="all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cap="all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cap="all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nl-NL" dirty="0" smtClean="0"/>
              <a:t>PLACE TITLE HERE</a:t>
            </a:r>
            <a:endParaRPr lang="nl-NL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962841"/>
            <a:ext cx="9144001" cy="67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Clr>
                <a:schemeClr val="dk1"/>
              </a:buClr>
              <a:buSzPct val="61111"/>
              <a:buFont typeface="Arial"/>
              <a:buNone/>
              <a:defRPr lang="nl-NL" sz="1800" kern="1200" smtClean="0">
                <a:solidFill>
                  <a:srgbClr val="6F0142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Clr>
                <a:schemeClr val="dk1"/>
              </a:buClr>
              <a:buSzPct val="61111"/>
              <a:buFont typeface="Arial"/>
              <a:buNone/>
            </a:pPr>
            <a:r>
              <a:rPr lang="nl-NL" dirty="0" err="1" smtClean="0"/>
              <a:t>Place</a:t>
            </a:r>
            <a:r>
              <a:rPr lang="nl-NL" dirty="0" smtClean="0"/>
              <a:t>, 2017</a:t>
            </a:r>
            <a:endParaRPr lang="nl-NL" dirty="0"/>
          </a:p>
        </p:txBody>
      </p:sp>
      <p:grpSp>
        <p:nvGrpSpPr>
          <p:cNvPr id="19" name="Groeperen 18"/>
          <p:cNvGrpSpPr/>
          <p:nvPr userDrawn="1"/>
        </p:nvGrpSpPr>
        <p:grpSpPr>
          <a:xfrm>
            <a:off x="0" y="5061181"/>
            <a:ext cx="9144000" cy="1796819"/>
            <a:chOff x="0" y="3795886"/>
            <a:chExt cx="9144000" cy="1347614"/>
          </a:xfrm>
        </p:grpSpPr>
        <p:pic>
          <p:nvPicPr>
            <p:cNvPr id="20" name="Afbeelding 19" descr="PictoPatroon_pos_WHITE.png"/>
            <p:cNvPicPr>
              <a:picLocks noChangeAspect="1"/>
            </p:cNvPicPr>
            <p:nvPr/>
          </p:nvPicPr>
          <p:blipFill rotWithShape="1">
            <a:blip r:embed="rId2" cstate="print">
              <a:alphaModFix amt="15000"/>
              <a:duotone>
                <a:prstClr val="black"/>
                <a:srgbClr val="80808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22" r="30621" b="24489"/>
            <a:stretch/>
          </p:blipFill>
          <p:spPr>
            <a:xfrm>
              <a:off x="0" y="3795886"/>
              <a:ext cx="9144000" cy="1347614"/>
            </a:xfrm>
            <a:prstGeom prst="rect">
              <a:avLst/>
            </a:prstGeom>
          </p:spPr>
        </p:pic>
        <p:grpSp>
          <p:nvGrpSpPr>
            <p:cNvPr id="21" name="Groeperen 20"/>
            <p:cNvGrpSpPr/>
            <p:nvPr/>
          </p:nvGrpSpPr>
          <p:grpSpPr>
            <a:xfrm>
              <a:off x="2987824" y="4227934"/>
              <a:ext cx="3168352" cy="546180"/>
              <a:chOff x="2987824" y="4227934"/>
              <a:chExt cx="3168352" cy="546180"/>
            </a:xfrm>
          </p:grpSpPr>
          <p:sp>
            <p:nvSpPr>
              <p:cNvPr id="23" name="Rechthoek 22"/>
              <p:cNvSpPr/>
              <p:nvPr/>
            </p:nvSpPr>
            <p:spPr bwMode="auto">
              <a:xfrm>
                <a:off x="2987824" y="4227934"/>
                <a:ext cx="3168352" cy="43204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24" name="Rechthoek 23"/>
              <p:cNvSpPr/>
              <p:nvPr/>
            </p:nvSpPr>
            <p:spPr bwMode="auto">
              <a:xfrm>
                <a:off x="4058369" y="4371950"/>
                <a:ext cx="369615" cy="33347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25" name="Rechthoek 24"/>
              <p:cNvSpPr/>
              <p:nvPr/>
            </p:nvSpPr>
            <p:spPr bwMode="auto">
              <a:xfrm>
                <a:off x="5231253" y="4440636"/>
                <a:ext cx="369615" cy="33347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</p:grpSp>
        <p:pic>
          <p:nvPicPr>
            <p:cNvPr id="22" name="Afbeelding 21"/>
            <p:cNvPicPr>
              <a:picLocks noChangeAspect="1"/>
            </p:cNvPicPr>
            <p:nvPr/>
          </p:nvPicPr>
          <p:blipFill rotWithShape="1">
            <a:blip r:embed="rId4"/>
            <a:srcRect b="30872"/>
            <a:stretch/>
          </p:blipFill>
          <p:spPr>
            <a:xfrm>
              <a:off x="3047592" y="4264662"/>
              <a:ext cx="3072910" cy="4673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55325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g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4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9582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eperen 9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1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3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2" name="Afbeelding 11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926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495824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3" name="Tijdelijke aanduiding vo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19222" y="1508787"/>
            <a:ext cx="84718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 Bold"/>
                <a:ea typeface="Alwyn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e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endParaRPr lang="nl-NL" dirty="0"/>
          </a:p>
        </p:txBody>
      </p:sp>
      <p:grpSp>
        <p:nvGrpSpPr>
          <p:cNvPr id="16" name="Groeperen 15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7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9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8" name="Afbeelding 17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23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24" name="Tijdelijke aanduiding voor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9222" y="1966165"/>
            <a:ext cx="8471890" cy="21605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commodo </a:t>
            </a:r>
            <a:r>
              <a:rPr lang="nl-NL" dirty="0" err="1" smtClean="0"/>
              <a:t>ligula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massa. Cum </a:t>
            </a:r>
            <a:r>
              <a:rPr lang="nl-NL" dirty="0" err="1" smtClean="0"/>
              <a:t>sociis</a:t>
            </a:r>
            <a:r>
              <a:rPr lang="nl-NL" dirty="0" smtClean="0"/>
              <a:t> </a:t>
            </a:r>
            <a:r>
              <a:rPr lang="nl-NL" dirty="0" err="1" smtClean="0"/>
              <a:t>natoque</a:t>
            </a:r>
            <a:r>
              <a:rPr lang="nl-NL" dirty="0" smtClean="0"/>
              <a:t> </a:t>
            </a:r>
            <a:r>
              <a:rPr lang="nl-NL" dirty="0" err="1" smtClean="0"/>
              <a:t>penatibus</a:t>
            </a:r>
            <a:r>
              <a:rPr lang="nl-NL" dirty="0" smtClean="0"/>
              <a:t> et </a:t>
            </a:r>
            <a:r>
              <a:rPr lang="nl-NL" dirty="0" err="1" smtClean="0"/>
              <a:t>magnis</a:t>
            </a:r>
            <a:r>
              <a:rPr lang="nl-NL" dirty="0" smtClean="0"/>
              <a:t> dis </a:t>
            </a:r>
            <a:r>
              <a:rPr lang="nl-NL" dirty="0" err="1" smtClean="0"/>
              <a:t>parturient</a:t>
            </a:r>
            <a:r>
              <a:rPr lang="nl-NL" dirty="0" smtClean="0"/>
              <a:t> </a:t>
            </a:r>
            <a:r>
              <a:rPr lang="nl-NL" dirty="0" err="1" smtClean="0"/>
              <a:t>montes</a:t>
            </a:r>
            <a:r>
              <a:rPr lang="nl-NL" dirty="0" smtClean="0"/>
              <a:t>, </a:t>
            </a:r>
            <a:r>
              <a:rPr lang="nl-NL" dirty="0" err="1" smtClean="0"/>
              <a:t>nascetur</a:t>
            </a:r>
            <a:r>
              <a:rPr lang="nl-NL" dirty="0" smtClean="0"/>
              <a:t> </a:t>
            </a:r>
            <a:r>
              <a:rPr lang="nl-NL" dirty="0" err="1" smtClean="0"/>
              <a:t>ridiculus</a:t>
            </a:r>
            <a:r>
              <a:rPr lang="nl-NL" dirty="0" smtClean="0"/>
              <a:t> mus. </a:t>
            </a: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quam</a:t>
            </a:r>
            <a:r>
              <a:rPr lang="nl-NL" dirty="0" smtClean="0"/>
              <a:t> </a:t>
            </a:r>
            <a:r>
              <a:rPr lang="nl-NL" dirty="0" err="1" smtClean="0"/>
              <a:t>felis</a:t>
            </a:r>
            <a:r>
              <a:rPr lang="nl-NL" dirty="0" smtClean="0"/>
              <a:t>,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pellentesque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pretium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</a:t>
            </a:r>
            <a:r>
              <a:rPr lang="nl-NL" dirty="0" err="1" smtClean="0"/>
              <a:t>sem</a:t>
            </a:r>
            <a:r>
              <a:rPr lang="nl-NL" dirty="0" smtClean="0"/>
              <a:t>. </a:t>
            </a: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consequat</a:t>
            </a:r>
            <a:r>
              <a:rPr lang="nl-NL" dirty="0" smtClean="0"/>
              <a:t> massa </a:t>
            </a:r>
            <a:r>
              <a:rPr lang="nl-NL" dirty="0" err="1" smtClean="0"/>
              <a:t>quis</a:t>
            </a:r>
            <a:r>
              <a:rPr lang="nl-NL" dirty="0" smtClean="0"/>
              <a:t>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Donec</a:t>
            </a:r>
            <a:r>
              <a:rPr lang="nl-NL" dirty="0" smtClean="0"/>
              <a:t> pede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fringilla</a:t>
            </a:r>
            <a:r>
              <a:rPr lang="nl-NL" dirty="0" smtClean="0"/>
              <a:t> vel, </a:t>
            </a:r>
            <a:r>
              <a:rPr lang="nl-NL" dirty="0" err="1" smtClean="0"/>
              <a:t>aliquet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, </a:t>
            </a:r>
            <a:r>
              <a:rPr lang="nl-NL" dirty="0" err="1" smtClean="0"/>
              <a:t>arcu</a:t>
            </a:r>
            <a:r>
              <a:rPr lang="nl-NL" dirty="0" smtClean="0"/>
              <a:t>. In </a:t>
            </a:r>
            <a:r>
              <a:rPr lang="nl-NL" dirty="0" err="1" smtClean="0"/>
              <a:t>enim</a:t>
            </a:r>
            <a:r>
              <a:rPr lang="nl-NL" dirty="0" smtClean="0"/>
              <a:t>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rhoncus</a:t>
            </a:r>
            <a:r>
              <a:rPr lang="nl-NL" dirty="0" smtClean="0"/>
              <a:t> ut, </a:t>
            </a:r>
            <a:r>
              <a:rPr lang="nl-NL" dirty="0" err="1" smtClean="0"/>
              <a:t>imperdiet</a:t>
            </a:r>
            <a:r>
              <a:rPr lang="nl-NL" dirty="0" smtClean="0"/>
              <a:t> a, </a:t>
            </a:r>
            <a:r>
              <a:rPr lang="nl-NL" dirty="0" err="1" smtClean="0"/>
              <a:t>venenatis</a:t>
            </a:r>
            <a:r>
              <a:rPr lang="nl-NL" dirty="0" smtClean="0"/>
              <a:t> vitae, </a:t>
            </a:r>
            <a:r>
              <a:rPr lang="nl-NL" dirty="0" err="1" smtClean="0"/>
              <a:t>justo</a:t>
            </a:r>
            <a:r>
              <a:rPr lang="nl-NL" dirty="0" smtClean="0"/>
              <a:t>. </a:t>
            </a:r>
            <a:r>
              <a:rPr lang="nl-NL" dirty="0" err="1" smtClean="0"/>
              <a:t>Nullam</a:t>
            </a:r>
            <a:r>
              <a:rPr lang="nl-NL" dirty="0" smtClean="0"/>
              <a:t> dictum </a:t>
            </a:r>
            <a:r>
              <a:rPr lang="nl-NL" dirty="0" err="1" smtClean="0"/>
              <a:t>felis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 pede </a:t>
            </a:r>
            <a:r>
              <a:rPr lang="nl-NL" dirty="0" err="1" smtClean="0"/>
              <a:t>mollis</a:t>
            </a:r>
            <a:r>
              <a:rPr lang="nl-NL" dirty="0" smtClean="0"/>
              <a:t> </a:t>
            </a:r>
            <a:r>
              <a:rPr lang="nl-NL" dirty="0" err="1" smtClean="0"/>
              <a:t>pretium</a:t>
            </a:r>
            <a:r>
              <a:rPr lang="nl-NL" dirty="0" smtClean="0"/>
              <a:t>. Integer </a:t>
            </a:r>
            <a:r>
              <a:rPr lang="nl-NL" dirty="0" err="1" smtClean="0"/>
              <a:t>tincidunt</a:t>
            </a:r>
            <a:r>
              <a:rPr lang="nl-NL" dirty="0" smtClean="0"/>
              <a:t>. </a:t>
            </a:r>
            <a:r>
              <a:rPr lang="nl-NL" dirty="0" err="1" smtClean="0"/>
              <a:t>Cras</a:t>
            </a:r>
            <a:r>
              <a:rPr lang="nl-NL" dirty="0" smtClean="0"/>
              <a:t> </a:t>
            </a:r>
            <a:r>
              <a:rPr lang="nl-NL" dirty="0" err="1" smtClean="0"/>
              <a:t>dapibus</a:t>
            </a:r>
            <a:r>
              <a:rPr lang="nl-NL" dirty="0" smtClean="0"/>
              <a:t>. </a:t>
            </a:r>
            <a:r>
              <a:rPr lang="nl-NL" dirty="0" err="1" smtClean="0"/>
              <a:t>Vivamus</a:t>
            </a:r>
            <a:r>
              <a:rPr lang="nl-NL" dirty="0" smtClean="0"/>
              <a:t> </a:t>
            </a:r>
            <a:r>
              <a:rPr lang="nl-NL" dirty="0" err="1" smtClean="0"/>
              <a:t>elementum</a:t>
            </a:r>
            <a:r>
              <a:rPr lang="nl-NL" dirty="0" smtClean="0"/>
              <a:t> semper </a:t>
            </a:r>
            <a:r>
              <a:rPr lang="nl-NL" dirty="0" err="1" smtClean="0"/>
              <a:t>nisi</a:t>
            </a:r>
            <a:r>
              <a:rPr lang="nl-NL" dirty="0" smtClean="0"/>
              <a:t>. Nam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ui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8118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ody 2 kollo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3" name="Tijdelijke aanduiding vo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19222" y="1481479"/>
            <a:ext cx="84718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 Bold"/>
                <a:ea typeface="Alwyn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e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endParaRPr lang="nl-NL" dirty="0"/>
          </a:p>
        </p:txBody>
      </p:sp>
      <p:grpSp>
        <p:nvGrpSpPr>
          <p:cNvPr id="17" name="Groeperen 16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8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0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9" name="Afbeelding 18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24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25" name="Tijdelijke aanduiding voor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9222" y="1938856"/>
            <a:ext cx="4152778" cy="35394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commodo </a:t>
            </a:r>
            <a:r>
              <a:rPr lang="nl-NL" dirty="0" err="1" smtClean="0"/>
              <a:t>ligula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massa. Cum </a:t>
            </a:r>
            <a:r>
              <a:rPr lang="nl-NL" dirty="0" err="1" smtClean="0"/>
              <a:t>sociis</a:t>
            </a:r>
            <a:r>
              <a:rPr lang="nl-NL" dirty="0" smtClean="0"/>
              <a:t> </a:t>
            </a:r>
            <a:r>
              <a:rPr lang="nl-NL" dirty="0" err="1" smtClean="0"/>
              <a:t>natoque</a:t>
            </a:r>
            <a:r>
              <a:rPr lang="nl-NL" dirty="0" smtClean="0"/>
              <a:t> </a:t>
            </a:r>
            <a:r>
              <a:rPr lang="nl-NL" dirty="0" err="1" smtClean="0"/>
              <a:t>penatibus</a:t>
            </a:r>
            <a:r>
              <a:rPr lang="nl-NL" dirty="0" smtClean="0"/>
              <a:t> et </a:t>
            </a:r>
            <a:r>
              <a:rPr lang="nl-NL" dirty="0" err="1" smtClean="0"/>
              <a:t>magnis</a:t>
            </a:r>
            <a:r>
              <a:rPr lang="nl-NL" dirty="0" smtClean="0"/>
              <a:t> dis </a:t>
            </a:r>
            <a:r>
              <a:rPr lang="nl-NL" dirty="0" err="1" smtClean="0"/>
              <a:t>parturient</a:t>
            </a:r>
            <a:r>
              <a:rPr lang="nl-NL" dirty="0" smtClean="0"/>
              <a:t> </a:t>
            </a:r>
            <a:r>
              <a:rPr lang="nl-NL" dirty="0" err="1" smtClean="0"/>
              <a:t>montes</a:t>
            </a:r>
            <a:r>
              <a:rPr lang="nl-NL" dirty="0" smtClean="0"/>
              <a:t>, </a:t>
            </a:r>
            <a:r>
              <a:rPr lang="nl-NL" dirty="0" err="1" smtClean="0"/>
              <a:t>nascetur</a:t>
            </a:r>
            <a:r>
              <a:rPr lang="nl-NL" dirty="0" smtClean="0"/>
              <a:t> </a:t>
            </a:r>
            <a:r>
              <a:rPr lang="nl-NL" dirty="0" err="1" smtClean="0"/>
              <a:t>ridiculus</a:t>
            </a:r>
            <a:r>
              <a:rPr lang="nl-NL" dirty="0" smtClean="0"/>
              <a:t> mus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endParaRPr lang="nl-NL" dirty="0" smtClean="0"/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consequat</a:t>
            </a:r>
            <a:r>
              <a:rPr lang="nl-NL" dirty="0" smtClean="0"/>
              <a:t> massa </a:t>
            </a:r>
            <a:r>
              <a:rPr lang="nl-NL" dirty="0" err="1" smtClean="0"/>
              <a:t>quis</a:t>
            </a:r>
            <a:r>
              <a:rPr lang="nl-NL" dirty="0" smtClean="0"/>
              <a:t>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Donec</a:t>
            </a:r>
            <a:r>
              <a:rPr lang="nl-NL" dirty="0" smtClean="0"/>
              <a:t> pede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fringilla</a:t>
            </a:r>
            <a:r>
              <a:rPr lang="nl-NL" dirty="0" smtClean="0"/>
              <a:t> vel, </a:t>
            </a:r>
            <a:r>
              <a:rPr lang="nl-NL" dirty="0" err="1" smtClean="0"/>
              <a:t>aliquet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, </a:t>
            </a:r>
            <a:r>
              <a:rPr lang="nl-NL" dirty="0" err="1" smtClean="0"/>
              <a:t>arcu</a:t>
            </a:r>
            <a:r>
              <a:rPr lang="nl-NL" dirty="0" smtClean="0"/>
              <a:t>. In </a:t>
            </a:r>
            <a:r>
              <a:rPr lang="nl-NL" dirty="0" err="1" smtClean="0"/>
              <a:t>enim</a:t>
            </a:r>
            <a:r>
              <a:rPr lang="nl-NL" dirty="0" smtClean="0"/>
              <a:t>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rhoncus</a:t>
            </a:r>
            <a:r>
              <a:rPr lang="nl-NL" dirty="0" smtClean="0"/>
              <a:t> ut, </a:t>
            </a:r>
            <a:r>
              <a:rPr lang="nl-NL" dirty="0" err="1" smtClean="0"/>
              <a:t>imperdiet</a:t>
            </a:r>
            <a:r>
              <a:rPr lang="nl-NL" dirty="0" smtClean="0"/>
              <a:t> a, </a:t>
            </a:r>
            <a:r>
              <a:rPr lang="nl-NL" dirty="0" err="1" smtClean="0"/>
              <a:t>venenatis</a:t>
            </a:r>
            <a:r>
              <a:rPr lang="nl-NL" dirty="0" smtClean="0"/>
              <a:t> vitae, </a:t>
            </a:r>
            <a:r>
              <a:rPr lang="nl-NL" dirty="0" err="1" smtClean="0"/>
              <a:t>justo</a:t>
            </a:r>
            <a:r>
              <a:rPr lang="nl-NL" dirty="0" smtClean="0"/>
              <a:t>. </a:t>
            </a:r>
            <a:r>
              <a:rPr lang="nl-NL" dirty="0" err="1" smtClean="0"/>
              <a:t>Nullam</a:t>
            </a:r>
            <a:r>
              <a:rPr lang="nl-NL" dirty="0" smtClean="0"/>
              <a:t> dictum </a:t>
            </a:r>
            <a:r>
              <a:rPr lang="nl-NL" dirty="0" err="1" smtClean="0"/>
              <a:t>felis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 pede </a:t>
            </a:r>
            <a:r>
              <a:rPr lang="nl-NL" dirty="0" err="1" smtClean="0"/>
              <a:t>mollis</a:t>
            </a:r>
            <a:r>
              <a:rPr lang="nl-NL" dirty="0" smtClean="0"/>
              <a:t> </a:t>
            </a:r>
            <a:r>
              <a:rPr lang="nl-NL" dirty="0" err="1" smtClean="0"/>
              <a:t>pretium</a:t>
            </a:r>
            <a:r>
              <a:rPr lang="nl-NL" dirty="0" smtClean="0"/>
              <a:t>. </a:t>
            </a:r>
          </a:p>
        </p:txBody>
      </p:sp>
      <p:sp>
        <p:nvSpPr>
          <p:cNvPr id="26" name="Tijdelijke aanduiding voor tekst 20"/>
          <p:cNvSpPr>
            <a:spLocks noGrp="1"/>
          </p:cNvSpPr>
          <p:nvPr>
            <p:ph type="body" sz="quarter" idx="14" hasCustomPrompt="1"/>
          </p:nvPr>
        </p:nvSpPr>
        <p:spPr>
          <a:xfrm>
            <a:off x="4738334" y="1938857"/>
            <a:ext cx="4152778" cy="35394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leifend</a:t>
            </a:r>
            <a:r>
              <a:rPr lang="nl-NL" dirty="0" smtClean="0"/>
              <a:t> </a:t>
            </a:r>
            <a:r>
              <a:rPr lang="nl-NL" dirty="0" err="1" smtClean="0"/>
              <a:t>tellus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</a:t>
            </a:r>
            <a:r>
              <a:rPr lang="nl-NL" dirty="0" err="1" smtClean="0"/>
              <a:t>leo</a:t>
            </a:r>
            <a:r>
              <a:rPr lang="nl-NL" dirty="0" smtClean="0"/>
              <a:t> </a:t>
            </a:r>
            <a:r>
              <a:rPr lang="nl-NL" dirty="0" err="1" smtClean="0"/>
              <a:t>ligula</a:t>
            </a:r>
            <a:r>
              <a:rPr lang="nl-NL" dirty="0" smtClean="0"/>
              <a:t>, </a:t>
            </a:r>
            <a:r>
              <a:rPr lang="nl-NL" dirty="0" err="1" smtClean="0"/>
              <a:t>porttitor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consequat</a:t>
            </a:r>
            <a:r>
              <a:rPr lang="nl-NL" dirty="0" smtClean="0"/>
              <a:t> vitae, </a:t>
            </a:r>
            <a:r>
              <a:rPr lang="nl-NL" dirty="0" err="1" smtClean="0"/>
              <a:t>eleifend</a:t>
            </a:r>
            <a:r>
              <a:rPr lang="nl-NL" dirty="0" smtClean="0"/>
              <a:t> </a:t>
            </a:r>
            <a:r>
              <a:rPr lang="nl-NL" dirty="0" err="1" smtClean="0"/>
              <a:t>ac</a:t>
            </a:r>
            <a:r>
              <a:rPr lang="nl-NL" dirty="0" smtClean="0"/>
              <a:t>,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Aliquam</a:t>
            </a:r>
            <a:r>
              <a:rPr lang="nl-NL" dirty="0" smtClean="0"/>
              <a:t> </a:t>
            </a:r>
            <a:r>
              <a:rPr lang="nl-NL" dirty="0" err="1" smtClean="0"/>
              <a:t>lorem</a:t>
            </a:r>
            <a:r>
              <a:rPr lang="nl-NL" dirty="0" smtClean="0"/>
              <a:t> ante, </a:t>
            </a:r>
            <a:r>
              <a:rPr lang="nl-NL" dirty="0" err="1" smtClean="0"/>
              <a:t>dapibus</a:t>
            </a:r>
            <a:r>
              <a:rPr lang="nl-NL" dirty="0" smtClean="0"/>
              <a:t> in, </a:t>
            </a:r>
            <a:r>
              <a:rPr lang="nl-NL" dirty="0" err="1" smtClean="0"/>
              <a:t>viverra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</a:t>
            </a:r>
            <a:r>
              <a:rPr lang="nl-NL" dirty="0" err="1" smtClean="0"/>
              <a:t>feugiat</a:t>
            </a:r>
            <a:r>
              <a:rPr lang="nl-NL" dirty="0" smtClean="0"/>
              <a:t> a, </a:t>
            </a:r>
            <a:r>
              <a:rPr lang="nl-NL" dirty="0" err="1" smtClean="0"/>
              <a:t>tellus</a:t>
            </a:r>
            <a:r>
              <a:rPr lang="nl-NL" dirty="0" smtClean="0"/>
              <a:t>. </a:t>
            </a:r>
            <a:r>
              <a:rPr lang="nl-NL" dirty="0" err="1" smtClean="0"/>
              <a:t>Phasellus</a:t>
            </a:r>
            <a:r>
              <a:rPr lang="nl-NL" dirty="0" smtClean="0"/>
              <a:t> </a:t>
            </a:r>
            <a:r>
              <a:rPr lang="nl-NL" dirty="0" err="1" smtClean="0"/>
              <a:t>viverra</a:t>
            </a:r>
            <a:r>
              <a:rPr lang="nl-NL" dirty="0" smtClean="0"/>
              <a:t> </a:t>
            </a:r>
            <a:r>
              <a:rPr lang="nl-NL" dirty="0" err="1" smtClean="0"/>
              <a:t>nulla</a:t>
            </a:r>
            <a:r>
              <a:rPr lang="nl-NL" dirty="0" smtClean="0"/>
              <a:t> ut </a:t>
            </a:r>
            <a:r>
              <a:rPr lang="nl-NL" dirty="0" err="1" smtClean="0"/>
              <a:t>metus</a:t>
            </a:r>
            <a:r>
              <a:rPr lang="nl-NL" dirty="0" smtClean="0"/>
              <a:t> </a:t>
            </a:r>
            <a:r>
              <a:rPr lang="nl-NL" dirty="0" err="1" smtClean="0"/>
              <a:t>varius</a:t>
            </a:r>
            <a:r>
              <a:rPr lang="nl-NL" dirty="0" smtClean="0"/>
              <a:t> </a:t>
            </a:r>
            <a:r>
              <a:rPr lang="nl-NL" dirty="0" err="1" smtClean="0"/>
              <a:t>laoreet</a:t>
            </a:r>
            <a:r>
              <a:rPr lang="nl-NL" dirty="0" smtClean="0"/>
              <a:t>. </a:t>
            </a:r>
            <a:r>
              <a:rPr lang="nl-NL" dirty="0" err="1" smtClean="0"/>
              <a:t>Quisque</a:t>
            </a:r>
            <a:r>
              <a:rPr lang="nl-NL" dirty="0" smtClean="0"/>
              <a:t> </a:t>
            </a:r>
            <a:r>
              <a:rPr lang="nl-NL" dirty="0" err="1" smtClean="0"/>
              <a:t>rutrum</a:t>
            </a:r>
            <a:r>
              <a:rPr lang="nl-NL" dirty="0" smtClean="0"/>
              <a:t>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endParaRPr lang="nl-NL" dirty="0" smtClean="0"/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</a:t>
            </a:r>
            <a:r>
              <a:rPr lang="nl-NL" dirty="0" err="1" smtClean="0"/>
              <a:t>imperdiet</a:t>
            </a:r>
            <a:r>
              <a:rPr lang="nl-NL" dirty="0" smtClean="0"/>
              <a:t>. </a:t>
            </a:r>
            <a:r>
              <a:rPr lang="nl-NL" dirty="0" err="1" smtClean="0"/>
              <a:t>Etiam</a:t>
            </a:r>
            <a:r>
              <a:rPr lang="nl-NL" dirty="0" smtClean="0"/>
              <a:t>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isi</a:t>
            </a:r>
            <a:r>
              <a:rPr lang="nl-NL" dirty="0" smtClean="0"/>
              <a:t> vel </a:t>
            </a:r>
            <a:r>
              <a:rPr lang="nl-NL" dirty="0" err="1" smtClean="0"/>
              <a:t>augue</a:t>
            </a:r>
            <a:r>
              <a:rPr lang="nl-NL" dirty="0" smtClean="0"/>
              <a:t>. </a:t>
            </a:r>
            <a:r>
              <a:rPr lang="nl-NL" dirty="0" err="1" smtClean="0"/>
              <a:t>Curabitur</a:t>
            </a:r>
            <a:r>
              <a:rPr lang="nl-NL" dirty="0" smtClean="0"/>
              <a:t> </a:t>
            </a:r>
            <a:r>
              <a:rPr lang="nl-NL" dirty="0" err="1" smtClean="0"/>
              <a:t>ullamcorper</a:t>
            </a:r>
            <a:r>
              <a:rPr lang="nl-NL" dirty="0" smtClean="0"/>
              <a:t>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isi</a:t>
            </a:r>
            <a:r>
              <a:rPr lang="nl-NL" dirty="0" smtClean="0"/>
              <a:t>. Nam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ui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77534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495824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3" name="Tijdelijke aanduiding vo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19222" y="1508787"/>
            <a:ext cx="84718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 Bold"/>
                <a:ea typeface="Alwyn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e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endParaRPr lang="nl-NL" dirty="0"/>
          </a:p>
        </p:txBody>
      </p:sp>
      <p:grpSp>
        <p:nvGrpSpPr>
          <p:cNvPr id="16" name="Groeperen 15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7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9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8" name="Afbeelding 17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23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24" name="Tijdelijke aanduiding voor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9222" y="1966165"/>
            <a:ext cx="8471890" cy="31947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50" indent="-171450">
              <a:buFont typeface="Arial"/>
              <a:buChar char="•"/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/>
                <a:cs typeface="Alwyn Light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smtClean="0"/>
              <a:t>Cum </a:t>
            </a:r>
            <a:r>
              <a:rPr lang="nl-NL" dirty="0" err="1" smtClean="0"/>
              <a:t>sociis</a:t>
            </a:r>
            <a:r>
              <a:rPr lang="nl-NL" dirty="0" smtClean="0"/>
              <a:t> </a:t>
            </a:r>
            <a:r>
              <a:rPr lang="nl-NL" dirty="0" err="1" smtClean="0"/>
              <a:t>natoque</a:t>
            </a:r>
            <a:r>
              <a:rPr lang="nl-NL" dirty="0" smtClean="0"/>
              <a:t> </a:t>
            </a:r>
            <a:r>
              <a:rPr lang="nl-NL" dirty="0" err="1" smtClean="0"/>
              <a:t>penatibus</a:t>
            </a:r>
            <a:r>
              <a:rPr lang="nl-NL" dirty="0" smtClean="0"/>
              <a:t> et </a:t>
            </a:r>
            <a:r>
              <a:rPr lang="nl-NL" dirty="0" err="1" smtClean="0"/>
              <a:t>magnis</a:t>
            </a:r>
            <a:r>
              <a:rPr lang="nl-NL" dirty="0" smtClean="0"/>
              <a:t> dis </a:t>
            </a:r>
            <a:r>
              <a:rPr lang="nl-NL" dirty="0" err="1" smtClean="0"/>
              <a:t>parturient</a:t>
            </a:r>
            <a:r>
              <a:rPr lang="nl-NL" dirty="0" smtClean="0"/>
              <a:t> </a:t>
            </a:r>
            <a:r>
              <a:rPr lang="nl-NL" dirty="0" err="1" smtClean="0"/>
              <a:t>montes</a:t>
            </a:r>
            <a:r>
              <a:rPr lang="nl-NL" dirty="0" smtClean="0"/>
              <a:t>, </a:t>
            </a:r>
            <a:r>
              <a:rPr lang="nl-NL" dirty="0" err="1" smtClean="0"/>
              <a:t>nascetur</a:t>
            </a:r>
            <a:r>
              <a:rPr lang="nl-NL" dirty="0" smtClean="0"/>
              <a:t> </a:t>
            </a:r>
            <a:r>
              <a:rPr lang="nl-NL" dirty="0" err="1" smtClean="0"/>
              <a:t>ridiculus</a:t>
            </a:r>
            <a:r>
              <a:rPr lang="nl-NL" dirty="0" smtClean="0"/>
              <a:t> mus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quam</a:t>
            </a:r>
            <a:r>
              <a:rPr lang="nl-NL" dirty="0" smtClean="0"/>
              <a:t> </a:t>
            </a:r>
            <a:r>
              <a:rPr lang="nl-NL" dirty="0" err="1" smtClean="0"/>
              <a:t>felis</a:t>
            </a:r>
            <a:r>
              <a:rPr lang="nl-NL" dirty="0" smtClean="0"/>
              <a:t>,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pellentesque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pretium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consequat</a:t>
            </a:r>
            <a:r>
              <a:rPr lang="nl-NL" dirty="0" smtClean="0"/>
              <a:t> massa </a:t>
            </a:r>
            <a:r>
              <a:rPr lang="nl-NL" dirty="0" err="1" smtClean="0"/>
              <a:t>quis</a:t>
            </a:r>
            <a:r>
              <a:rPr lang="nl-NL" dirty="0" smtClean="0"/>
              <a:t>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Donec</a:t>
            </a:r>
            <a:r>
              <a:rPr lang="nl-NL" dirty="0" smtClean="0"/>
              <a:t> pede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fringilla</a:t>
            </a:r>
            <a:r>
              <a:rPr lang="nl-NL" dirty="0" smtClean="0"/>
              <a:t> vel, </a:t>
            </a:r>
            <a:r>
              <a:rPr lang="nl-NL" dirty="0" err="1" smtClean="0"/>
              <a:t>aliquet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, </a:t>
            </a:r>
            <a:r>
              <a:rPr lang="nl-NL" dirty="0" err="1" smtClean="0"/>
              <a:t>arcu</a:t>
            </a:r>
            <a:r>
              <a:rPr lang="nl-NL" dirty="0" smtClean="0"/>
              <a:t>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smtClean="0"/>
              <a:t>In </a:t>
            </a:r>
            <a:r>
              <a:rPr lang="nl-NL" dirty="0" err="1" smtClean="0"/>
              <a:t>enim</a:t>
            </a:r>
            <a:r>
              <a:rPr lang="nl-NL" dirty="0" smtClean="0"/>
              <a:t>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rhoncus</a:t>
            </a:r>
            <a:r>
              <a:rPr lang="nl-NL" dirty="0" smtClean="0"/>
              <a:t> ut, </a:t>
            </a:r>
            <a:r>
              <a:rPr lang="nl-NL" dirty="0" err="1" smtClean="0"/>
              <a:t>imperdiet</a:t>
            </a:r>
            <a:r>
              <a:rPr lang="nl-NL" dirty="0" smtClean="0"/>
              <a:t> a, </a:t>
            </a:r>
            <a:r>
              <a:rPr lang="nl-NL" dirty="0" err="1" smtClean="0"/>
              <a:t>venenatis</a:t>
            </a:r>
            <a:r>
              <a:rPr lang="nl-NL" dirty="0" smtClean="0"/>
              <a:t> vitae, </a:t>
            </a:r>
            <a:r>
              <a:rPr lang="nl-NL" dirty="0" err="1" smtClean="0"/>
              <a:t>justo</a:t>
            </a:r>
            <a:r>
              <a:rPr lang="nl-NL" dirty="0" smtClean="0"/>
              <a:t>. </a:t>
            </a:r>
            <a:r>
              <a:rPr lang="nl-NL" dirty="0" err="1" smtClean="0"/>
              <a:t>Nullam</a:t>
            </a:r>
            <a:r>
              <a:rPr lang="nl-NL" dirty="0" smtClean="0"/>
              <a:t> dictum </a:t>
            </a:r>
            <a:r>
              <a:rPr lang="nl-NL" dirty="0" err="1" smtClean="0"/>
              <a:t>felis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 pede </a:t>
            </a:r>
            <a:r>
              <a:rPr lang="nl-NL" dirty="0" err="1" smtClean="0"/>
              <a:t>mollis</a:t>
            </a:r>
            <a:r>
              <a:rPr lang="nl-NL" dirty="0" smtClean="0"/>
              <a:t> </a:t>
            </a:r>
            <a:r>
              <a:rPr lang="nl-NL" dirty="0" err="1" smtClean="0"/>
              <a:t>pretium</a:t>
            </a:r>
            <a:r>
              <a:rPr lang="nl-NL" dirty="0" smtClean="0"/>
              <a:t>. </a:t>
            </a:r>
            <a:br>
              <a:rPr lang="nl-NL" dirty="0" smtClean="0"/>
            </a:br>
            <a:r>
              <a:rPr lang="nl-NL" dirty="0" smtClean="0"/>
              <a:t>Integer </a:t>
            </a:r>
            <a:r>
              <a:rPr lang="nl-NL" dirty="0" err="1" smtClean="0"/>
              <a:t>tincidunt</a:t>
            </a:r>
            <a:r>
              <a:rPr lang="nl-NL" dirty="0" smtClean="0"/>
              <a:t>. </a:t>
            </a:r>
            <a:r>
              <a:rPr lang="nl-NL" dirty="0" err="1" smtClean="0"/>
              <a:t>Cras</a:t>
            </a:r>
            <a:r>
              <a:rPr lang="nl-NL" dirty="0" smtClean="0"/>
              <a:t> </a:t>
            </a:r>
            <a:r>
              <a:rPr lang="nl-NL" dirty="0" err="1" smtClean="0"/>
              <a:t>dapibus</a:t>
            </a:r>
            <a:r>
              <a:rPr lang="nl-NL" dirty="0" smtClean="0"/>
              <a:t>. </a:t>
            </a:r>
            <a:r>
              <a:rPr lang="nl-NL" dirty="0" err="1" smtClean="0"/>
              <a:t>Vivamus</a:t>
            </a:r>
            <a:r>
              <a:rPr lang="nl-NL" dirty="0" smtClean="0"/>
              <a:t> </a:t>
            </a:r>
            <a:r>
              <a:rPr lang="nl-NL" dirty="0" err="1" smtClean="0"/>
              <a:t>elementum</a:t>
            </a:r>
            <a:r>
              <a:rPr lang="nl-NL" dirty="0" smtClean="0"/>
              <a:t> semper </a:t>
            </a:r>
            <a:r>
              <a:rPr lang="nl-NL" dirty="0" err="1" smtClean="0"/>
              <a:t>nisi</a:t>
            </a:r>
            <a:r>
              <a:rPr lang="nl-NL" dirty="0" smtClean="0"/>
              <a:t>. </a:t>
            </a:r>
          </a:p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leifend</a:t>
            </a:r>
            <a:r>
              <a:rPr lang="nl-NL" dirty="0" smtClean="0"/>
              <a:t> </a:t>
            </a:r>
            <a:r>
              <a:rPr lang="nl-NL" dirty="0" err="1" smtClean="0"/>
              <a:t>tellus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</a:t>
            </a:r>
            <a:r>
              <a:rPr lang="nl-NL" dirty="0" err="1" smtClean="0"/>
              <a:t>leo</a:t>
            </a:r>
            <a:r>
              <a:rPr lang="nl-NL" dirty="0" smtClean="0"/>
              <a:t> </a:t>
            </a:r>
            <a:r>
              <a:rPr lang="nl-NL" dirty="0" err="1" smtClean="0"/>
              <a:t>ligula</a:t>
            </a:r>
            <a:r>
              <a:rPr lang="nl-NL" dirty="0" smtClean="0"/>
              <a:t>, </a:t>
            </a:r>
            <a:r>
              <a:rPr lang="nl-NL" dirty="0" err="1" smtClean="0"/>
              <a:t>porttitor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consequat</a:t>
            </a:r>
            <a:r>
              <a:rPr lang="nl-NL" dirty="0" smtClean="0"/>
              <a:t> vitae, </a:t>
            </a:r>
            <a:r>
              <a:rPr lang="nl-NL" dirty="0" err="1" smtClean="0"/>
              <a:t>eleifend</a:t>
            </a:r>
            <a:r>
              <a:rPr lang="nl-NL" dirty="0" smtClean="0"/>
              <a:t> </a:t>
            </a:r>
            <a:r>
              <a:rPr lang="nl-NL" dirty="0" err="1" smtClean="0"/>
              <a:t>ac</a:t>
            </a:r>
            <a:r>
              <a:rPr lang="nl-NL" dirty="0" smtClean="0"/>
              <a:t>,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7106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met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11256A2-6E2B-A14F-9DD2-02C8BBE24BF7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364000" y="0"/>
            <a:ext cx="3780000" cy="6768000"/>
          </a:xfrm>
          <a:solidFill>
            <a:schemeClr val="bg1">
              <a:lumMod val="85000"/>
            </a:schemeClr>
          </a:solidFill>
        </p:spPr>
        <p:txBody>
          <a:bodyPr lIns="360000" tIns="1800000" rIns="360000" anchor="t"/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360229"/>
            <a:ext cx="4715999" cy="1948129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</a:t>
            </a:r>
            <a:br>
              <a:rPr lang="nl-NL" dirty="0"/>
            </a:br>
            <a:r>
              <a:rPr lang="nl-NL" dirty="0"/>
              <a:t>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2000" y="4416358"/>
            <a:ext cx="3530400" cy="726332"/>
          </a:xfrm>
        </p:spPr>
        <p:txBody>
          <a:bodyPr/>
          <a:lstStyle>
            <a:lvl1pPr marL="0" indent="0" algn="l">
              <a:lnSpc>
                <a:spcPts val="2760"/>
              </a:lnSpc>
              <a:buNone/>
              <a:defRPr sz="2300" i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ken om de ondertite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66A4270-91F3-FD4A-A2B0-7501EB4942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25336"/>
            <a:ext cx="1066958" cy="673200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4935F42-0241-E046-B1B0-23E3E7D3255A}"/>
              </a:ext>
            </a:extLst>
          </p:cNvPr>
          <p:cNvSpPr>
            <a:spLocks noGrp="1" noChangeAspect="1"/>
          </p:cNvSpPr>
          <p:nvPr>
            <p:ph type="pic" idx="13" hasCustomPrompt="1"/>
          </p:nvPr>
        </p:nvSpPr>
        <p:spPr>
          <a:xfrm>
            <a:off x="432000" y="5753406"/>
            <a:ext cx="1225786" cy="429873"/>
          </a:xfrm>
          <a:solidFill>
            <a:schemeClr val="bg1"/>
          </a:solidFill>
        </p:spPr>
        <p:txBody>
          <a:bodyPr lIns="180000" tIns="72000" rIns="180000" anchor="t"/>
          <a:lstStyle>
            <a:lvl1pPr marL="0" indent="0" algn="ctr">
              <a:lnSpc>
                <a:spcPts val="1860"/>
              </a:lnSpc>
              <a:buNone/>
              <a:defRPr sz="13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Logo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0342F23-4A8C-244A-9CD4-13A84B7F52D9}"/>
              </a:ext>
            </a:extLst>
          </p:cNvPr>
          <p:cNvSpPr>
            <a:spLocks noGrp="1" noChangeAspect="1"/>
          </p:cNvSpPr>
          <p:nvPr>
            <p:ph type="pic" idx="14" hasCustomPrompt="1"/>
          </p:nvPr>
        </p:nvSpPr>
        <p:spPr>
          <a:xfrm>
            <a:off x="1776027" y="5753406"/>
            <a:ext cx="1225786" cy="429873"/>
          </a:xfrm>
          <a:solidFill>
            <a:schemeClr val="bg1"/>
          </a:solidFill>
        </p:spPr>
        <p:txBody>
          <a:bodyPr lIns="180000" tIns="72000" rIns="180000" anchor="t"/>
          <a:lstStyle>
            <a:lvl1pPr marL="0" indent="0" algn="ctr">
              <a:lnSpc>
                <a:spcPts val="1860"/>
              </a:lnSpc>
              <a:buNone/>
              <a:defRPr sz="13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/>
              <a:t>Logo</a:t>
            </a:r>
            <a:endParaRPr lang="en-US" dirty="0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5364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5364000" y="6768000"/>
            <a:ext cx="3780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8460D64-0C7D-724D-BE59-2F55B20E504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31999" y="1814363"/>
            <a:ext cx="4715999" cy="522000"/>
          </a:xfrm>
        </p:spPr>
        <p:txBody>
          <a:bodyPr/>
          <a:lstStyle>
            <a:lvl1pPr marL="0" indent="0">
              <a:lnSpc>
                <a:spcPts val="4460"/>
              </a:lnSpc>
              <a:buNone/>
              <a:defRPr sz="44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oprege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D2777D1-938F-D047-88D4-2B5E8A2D2873}"/>
              </a:ext>
            </a:extLst>
          </p:cNvPr>
          <p:cNvSpPr txBox="1">
            <a:spLocks/>
          </p:cNvSpPr>
          <p:nvPr userDrawn="1"/>
        </p:nvSpPr>
        <p:spPr>
          <a:xfrm>
            <a:off x="432000" y="5000017"/>
            <a:ext cx="3459064" cy="726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760"/>
              </a:lnSpc>
              <a:spcBef>
                <a:spcPts val="0"/>
              </a:spcBef>
              <a:buFont typeface="Arial" panose="020B0604020202020204" pitchFamily="34" charset="0"/>
              <a:buNone/>
              <a:defRPr sz="2300" i="1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2400" dirty="0">
              <a:solidFill>
                <a:schemeClr val="accent1"/>
              </a:solidFill>
            </a:endParaRPr>
          </a:p>
          <a:p>
            <a:endParaRPr lang="nl-NL" sz="2400" dirty="0">
              <a:solidFill>
                <a:schemeClr val="accent1"/>
              </a:solidFill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BFBB84E-81B7-A146-B525-4270AB9064FF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432000" y="5523265"/>
            <a:ext cx="3530400" cy="171197"/>
          </a:xfrm>
        </p:spPr>
        <p:txBody>
          <a:bodyPr/>
          <a:lstStyle>
            <a:lvl1pPr marL="0" indent="0">
              <a:lnSpc>
                <a:spcPts val="860"/>
              </a:lnSpc>
              <a:buNone/>
              <a:defRPr sz="85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Tussenkopje:</a:t>
            </a:r>
          </a:p>
        </p:txBody>
      </p:sp>
      <p:sp>
        <p:nvSpPr>
          <p:cNvPr id="24" name="Tijdelijke aanduiding voor tekst 23">
            <a:extLst>
              <a:ext uri="{FF2B5EF4-FFF2-40B4-BE49-F238E27FC236}">
                <a16:creationId xmlns:a16="http://schemas.microsoft.com/office/drawing/2014/main" id="{57E2539D-AC84-F544-8C5E-C117FCEE93A6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4374000" y="4500000"/>
            <a:ext cx="1980000" cy="1980000"/>
          </a:xfrm>
          <a:custGeom>
            <a:avLst/>
            <a:gdLst>
              <a:gd name="connsiteX0" fmla="*/ 0 w 1980000"/>
              <a:gd name="connsiteY0" fmla="*/ 0 h 1980000"/>
              <a:gd name="connsiteX1" fmla="*/ 990000 w 1980000"/>
              <a:gd name="connsiteY1" fmla="*/ 0 h 1980000"/>
              <a:gd name="connsiteX2" fmla="*/ 1980000 w 1980000"/>
              <a:gd name="connsiteY2" fmla="*/ 0 h 1980000"/>
              <a:gd name="connsiteX3" fmla="*/ 1980000 w 1980000"/>
              <a:gd name="connsiteY3" fmla="*/ 990000 h 1980000"/>
              <a:gd name="connsiteX4" fmla="*/ 990000 w 1980000"/>
              <a:gd name="connsiteY4" fmla="*/ 990000 h 1980000"/>
              <a:gd name="connsiteX5" fmla="*/ 990000 w 1980000"/>
              <a:gd name="connsiteY5" fmla="*/ 1980000 h 1980000"/>
              <a:gd name="connsiteX6" fmla="*/ 888780 w 1980000"/>
              <a:gd name="connsiteY6" fmla="*/ 1974889 h 1980000"/>
              <a:gd name="connsiteX7" fmla="*/ 1 w 1980000"/>
              <a:gd name="connsiteY7" fmla="*/ 990000 h 1980000"/>
              <a:gd name="connsiteX8" fmla="*/ 0 w 1980000"/>
              <a:gd name="connsiteY8" fmla="*/ 990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000" h="1980000">
                <a:moveTo>
                  <a:pt x="0" y="0"/>
                </a:moveTo>
                <a:lnTo>
                  <a:pt x="990000" y="0"/>
                </a:lnTo>
                <a:lnTo>
                  <a:pt x="1980000" y="0"/>
                </a:lnTo>
                <a:lnTo>
                  <a:pt x="1980000" y="990000"/>
                </a:lnTo>
                <a:lnTo>
                  <a:pt x="990000" y="990000"/>
                </a:lnTo>
                <a:lnTo>
                  <a:pt x="990000" y="1980000"/>
                </a:lnTo>
                <a:lnTo>
                  <a:pt x="888780" y="1974889"/>
                </a:lnTo>
                <a:cubicBezTo>
                  <a:pt x="389566" y="1924191"/>
                  <a:pt x="1" y="1502590"/>
                  <a:pt x="1" y="990000"/>
                </a:cubicBezTo>
                <a:lnTo>
                  <a:pt x="0" y="990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1" name="Tijdelijke aanduiding voor tekst 30">
            <a:extLst>
              <a:ext uri="{FF2B5EF4-FFF2-40B4-BE49-F238E27FC236}">
                <a16:creationId xmlns:a16="http://schemas.microsoft.com/office/drawing/2014/main" id="{50C7CDCA-B5EC-FE4F-B968-087BA4DB0767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5147998" y="324000"/>
            <a:ext cx="432000" cy="630000"/>
          </a:xfrm>
          <a:custGeom>
            <a:avLst/>
            <a:gdLst>
              <a:gd name="connsiteX0" fmla="*/ 216000 w 432000"/>
              <a:gd name="connsiteY0" fmla="*/ 0 h 630000"/>
              <a:gd name="connsiteX1" fmla="*/ 216000 w 432000"/>
              <a:gd name="connsiteY1" fmla="*/ 216000 h 630000"/>
              <a:gd name="connsiteX2" fmla="*/ 432000 w 432000"/>
              <a:gd name="connsiteY2" fmla="*/ 216000 h 630000"/>
              <a:gd name="connsiteX3" fmla="*/ 432000 w 432000"/>
              <a:gd name="connsiteY3" fmla="*/ 630000 h 630000"/>
              <a:gd name="connsiteX4" fmla="*/ 0 w 432000"/>
              <a:gd name="connsiteY4" fmla="*/ 630000 h 630000"/>
              <a:gd name="connsiteX5" fmla="*/ 0 w 432000"/>
              <a:gd name="connsiteY5" fmla="*/ 216000 h 630000"/>
              <a:gd name="connsiteX6" fmla="*/ 216000 w 432000"/>
              <a:gd name="connsiteY6" fmla="*/ 0 h 63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000" h="630000">
                <a:moveTo>
                  <a:pt x="216000" y="0"/>
                </a:moveTo>
                <a:lnTo>
                  <a:pt x="216000" y="216000"/>
                </a:lnTo>
                <a:lnTo>
                  <a:pt x="432000" y="216000"/>
                </a:lnTo>
                <a:lnTo>
                  <a:pt x="432000" y="630000"/>
                </a:lnTo>
                <a:lnTo>
                  <a:pt x="0" y="630000"/>
                </a:lnTo>
                <a:lnTo>
                  <a:pt x="0" y="216000"/>
                </a:lnTo>
                <a:cubicBezTo>
                  <a:pt x="0" y="96706"/>
                  <a:pt x="96706" y="0"/>
                  <a:pt x="21600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lnSpc>
                <a:spcPts val="860"/>
              </a:lnSpc>
              <a:buNone/>
              <a:defRPr sz="85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21868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afbeelding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2"/>
          <a:srcRect t="-16916" r="7170" b="-16916"/>
          <a:stretch/>
        </p:blipFill>
        <p:spPr>
          <a:xfrm>
            <a:off x="7739022" y="5939300"/>
            <a:ext cx="1404979" cy="648661"/>
          </a:xfrm>
          <a:prstGeom prst="rect">
            <a:avLst/>
          </a:prstGeom>
        </p:spPr>
      </p:pic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5508104" y="2276872"/>
            <a:ext cx="3240088" cy="1823211"/>
          </a:xfrm>
          <a:prstGeom prst="rect">
            <a:avLst/>
          </a:prstGeom>
          <a:noFill/>
          <a:ln>
            <a:noFill/>
          </a:ln>
          <a:effectLst/>
        </p:spPr>
        <p:txBody>
          <a:bodyPr lIns="91425" tIns="91425" rIns="91425" bIns="91425" anchor="t" anchorCtr="0">
            <a:noAutofit/>
          </a:bodyPr>
          <a:lstStyle>
            <a:lvl1pPr marL="0" marR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nl-NL" sz="2500" kern="1200" baseline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Place</a:t>
            </a:r>
            <a:r>
              <a:rPr lang="nl-NL" dirty="0" smtClean="0"/>
              <a:t> Quote, </a:t>
            </a:r>
            <a:r>
              <a:rPr lang="nl-NL" dirty="0" err="1" smtClean="0"/>
              <a:t>when</a:t>
            </a:r>
            <a:r>
              <a:rPr lang="nl-NL" dirty="0" smtClean="0"/>
              <a:t> </a:t>
            </a:r>
            <a:r>
              <a:rPr lang="nl-NL" dirty="0" err="1" smtClean="0"/>
              <a:t>necessary</a:t>
            </a:r>
            <a:r>
              <a:rPr lang="nl-NL" dirty="0" smtClean="0"/>
              <a:t> </a:t>
            </a:r>
            <a:r>
              <a:rPr lang="nl-NL" dirty="0" err="1" smtClean="0"/>
              <a:t>place</a:t>
            </a:r>
            <a:r>
              <a:rPr lang="nl-NL" dirty="0" smtClean="0"/>
              <a:t> in </a:t>
            </a:r>
            <a:r>
              <a:rPr lang="nl-NL" dirty="0" err="1" smtClean="0"/>
              <a:t>white</a:t>
            </a:r>
            <a:r>
              <a:rPr lang="nl-NL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2779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5690722" y="2242330"/>
            <a:ext cx="32003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sp>
        <p:nvSpPr>
          <p:cNvPr id="24" name="Tijdelijke aanduiding voor afbeelding 2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5392738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0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6" name="Afbeelding 15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335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Titel circ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4"/>
          <p:cNvSpPr/>
          <p:nvPr/>
        </p:nvSpPr>
        <p:spPr>
          <a:xfrm>
            <a:off x="6631544" y="371232"/>
            <a:ext cx="1211124" cy="1592865"/>
          </a:xfrm>
          <a:prstGeom prst="ellipse">
            <a:avLst/>
          </a:prstGeom>
          <a:solidFill>
            <a:srgbClr val="6F848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631544" y="713608"/>
            <a:ext cx="1242664" cy="864096"/>
          </a:xfrm>
          <a:prstGeom prst="rect">
            <a:avLst/>
          </a:prstGeom>
          <a:noFill/>
          <a:ln>
            <a:noFill/>
          </a:ln>
          <a:effectLst/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90000"/>
              </a:lnSpc>
              <a:defRPr lang="nl-NL" sz="2000" kern="1200" baseline="0" smtClean="0">
                <a:solidFill>
                  <a:srgbClr val="FFFFFF"/>
                </a:solidFill>
                <a:latin typeface="Alwyn Bold"/>
                <a:ea typeface="Alwyn Light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27" name="Tijdelijke aanduiding voor afbeelding 2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5392738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2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0" name="Afbeelding 19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15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5690722" y="2242330"/>
            <a:ext cx="32003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61417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Titel circ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4"/>
          <p:cNvSpPr/>
          <p:nvPr/>
        </p:nvSpPr>
        <p:spPr>
          <a:xfrm>
            <a:off x="6631544" y="371232"/>
            <a:ext cx="1211124" cy="1592865"/>
          </a:xfrm>
          <a:prstGeom prst="ellipse">
            <a:avLst/>
          </a:prstGeom>
          <a:solidFill>
            <a:srgbClr val="1E2D3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631544" y="713608"/>
            <a:ext cx="1242664" cy="864096"/>
          </a:xfrm>
          <a:prstGeom prst="rect">
            <a:avLst/>
          </a:prstGeom>
          <a:noFill/>
          <a:ln>
            <a:noFill/>
          </a:ln>
          <a:effectLst/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nl-NL" sz="2000" kern="1200" baseline="0" smtClean="0">
                <a:solidFill>
                  <a:srgbClr val="FFFFFF"/>
                </a:solidFill>
                <a:latin typeface="Alwyn Bold"/>
                <a:ea typeface="Alwyn Light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27" name="Tijdelijke aanduiding voor afbeelding 2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5392738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2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0" name="Afbeelding 19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15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5690722" y="2242330"/>
            <a:ext cx="32003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9891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Titel circ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4"/>
          <p:cNvSpPr/>
          <p:nvPr/>
        </p:nvSpPr>
        <p:spPr>
          <a:xfrm>
            <a:off x="6631544" y="371232"/>
            <a:ext cx="1211124" cy="1592865"/>
          </a:xfrm>
          <a:prstGeom prst="ellipse">
            <a:avLst/>
          </a:prstGeom>
          <a:solidFill>
            <a:srgbClr val="985F4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631544" y="713608"/>
            <a:ext cx="1242664" cy="864096"/>
          </a:xfrm>
          <a:prstGeom prst="rect">
            <a:avLst/>
          </a:prstGeom>
          <a:noFill/>
          <a:ln>
            <a:noFill/>
          </a:ln>
          <a:effectLst/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nl-NL" sz="2000" kern="1200" baseline="0" smtClean="0">
                <a:solidFill>
                  <a:srgbClr val="FFFFFF"/>
                </a:solidFill>
                <a:latin typeface="Alwyn Bold"/>
                <a:ea typeface="Alwyn Light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27" name="Tijdelijke aanduiding voor afbeelding 2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5392738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2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0" name="Afbeelding 19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15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5690722" y="2242330"/>
            <a:ext cx="32003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22950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0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6" name="Afbeelding 15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21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395536" y="2242330"/>
            <a:ext cx="3200390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smtClean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sp>
        <p:nvSpPr>
          <p:cNvPr id="24" name="Tijdelijke aanduiding voor afbeelding 23"/>
          <p:cNvSpPr>
            <a:spLocks noGrp="1"/>
          </p:cNvSpPr>
          <p:nvPr>
            <p:ph type="pic" sz="quarter" idx="12" hasCustomPrompt="1"/>
          </p:nvPr>
        </p:nvSpPr>
        <p:spPr>
          <a:xfrm>
            <a:off x="3751262" y="0"/>
            <a:ext cx="5392738" cy="6858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4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626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o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5"/>
          <p:cNvSpPr/>
          <p:nvPr userDrawn="1"/>
        </p:nvSpPr>
        <p:spPr>
          <a:xfrm>
            <a:off x="0" y="1"/>
            <a:ext cx="9144000" cy="1820335"/>
          </a:xfrm>
          <a:prstGeom prst="rect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6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356659"/>
            <a:ext cx="8784976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defRPr lang="nl-NL" sz="3000" kern="1200" cap="all" smtClean="0">
                <a:solidFill>
                  <a:schemeClr val="bg1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1820335"/>
            <a:ext cx="9148763" cy="5049509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080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4 pijl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jdelijke aanduiding voor tekst 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63004" y="3045884"/>
            <a:ext cx="2016919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nl-NL" sz="2300" kern="1200" baseline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sp>
        <p:nvSpPr>
          <p:cNvPr id="28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2466827" y="3045884"/>
            <a:ext cx="2016919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nl-NL" sz="2300" kern="1200" baseline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sp>
        <p:nvSpPr>
          <p:cNvPr id="29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678121" y="3045884"/>
            <a:ext cx="2016919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nl-NL" sz="2300" b="1" kern="1200" baseline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sp>
        <p:nvSpPr>
          <p:cNvPr id="30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6884706" y="3045884"/>
            <a:ext cx="2016919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nl-NL" sz="2300" b="1" kern="1200" baseline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Text</a:t>
            </a:r>
            <a:r>
              <a:rPr lang="nl-NL" dirty="0" smtClean="0"/>
              <a:t> field</a:t>
            </a:r>
            <a:endParaRPr lang="nl-NL" dirty="0"/>
          </a:p>
        </p:txBody>
      </p:sp>
      <p:grpSp>
        <p:nvGrpSpPr>
          <p:cNvPr id="14" name="Groeperen 13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5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7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6" name="Afbeelding 15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130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42125" y="548680"/>
            <a:ext cx="3888432" cy="596227"/>
          </a:xfrm>
          <a:prstGeom prst="rect">
            <a:avLst/>
          </a:prstGeom>
        </p:spPr>
      </p:pic>
      <p:sp>
        <p:nvSpPr>
          <p:cNvPr id="17" name="Rectangle 7"/>
          <p:cNvSpPr/>
          <p:nvPr/>
        </p:nvSpPr>
        <p:spPr>
          <a:xfrm>
            <a:off x="589850" y="1447827"/>
            <a:ext cx="2481126" cy="60959"/>
          </a:xfrm>
          <a:prstGeom prst="rect">
            <a:avLst/>
          </a:prstGeom>
          <a:solidFill>
            <a:srgbClr val="E94D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8"/>
          <p:cNvSpPr/>
          <p:nvPr/>
        </p:nvSpPr>
        <p:spPr>
          <a:xfrm>
            <a:off x="3329801" y="1447829"/>
            <a:ext cx="2505434" cy="609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6" name="Rectangle 10"/>
          <p:cNvSpPr/>
          <p:nvPr/>
        </p:nvSpPr>
        <p:spPr>
          <a:xfrm>
            <a:off x="6082441" y="1439957"/>
            <a:ext cx="2495454" cy="609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0" hasCustomPrompt="1"/>
          </p:nvPr>
        </p:nvSpPr>
        <p:spPr>
          <a:xfrm>
            <a:off x="590551" y="2084851"/>
            <a:ext cx="2479675" cy="2286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2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2" name="Tijdelijke aanduiding voor tekst 13"/>
          <p:cNvSpPr>
            <a:spLocks noGrp="1"/>
          </p:cNvSpPr>
          <p:nvPr>
            <p:ph type="body" sz="quarter" idx="11" hasCustomPrompt="1"/>
          </p:nvPr>
        </p:nvSpPr>
        <p:spPr>
          <a:xfrm>
            <a:off x="590550" y="4370851"/>
            <a:ext cx="2492044" cy="10894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defRPr lang="nl-NL" sz="1600" kern="1200" dirty="0" smtClean="0">
                <a:solidFill>
                  <a:srgbClr val="F0850F"/>
                </a:solidFill>
                <a:latin typeface="Alwyn"/>
                <a:cs typeface="Alwyn"/>
              </a:defRPr>
            </a:lvl1pPr>
          </a:lstStyle>
          <a:p>
            <a:pPr lvl="0"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 smtClean="0"/>
          </a:p>
        </p:txBody>
      </p:sp>
      <p:sp>
        <p:nvSpPr>
          <p:cNvPr id="43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3339728" y="2084851"/>
            <a:ext cx="2479675" cy="2286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0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3339727" y="4370851"/>
            <a:ext cx="2492044" cy="10894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defRPr lang="nl-NL" sz="1600" kern="1200" dirty="0" smtClean="0">
                <a:solidFill>
                  <a:srgbClr val="00A9E1"/>
                </a:solidFill>
                <a:latin typeface="Alwyn"/>
                <a:cs typeface="Alwyn"/>
              </a:defRPr>
            </a:lvl1pPr>
          </a:lstStyle>
          <a:p>
            <a:pPr lvl="0"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 smtClean="0"/>
          </a:p>
        </p:txBody>
      </p:sp>
      <p:sp>
        <p:nvSpPr>
          <p:cNvPr id="45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6081434" y="2084851"/>
            <a:ext cx="2479675" cy="2286000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nl-NL" sz="1000" b="0" i="0" u="none" strike="noStrike" kern="0" cap="none" spc="0" normalizeH="0" baseline="0" noProof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6" name="Tijdelijke aanduiding voor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81433" y="4370851"/>
            <a:ext cx="2492044" cy="10894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defRPr lang="nl-NL" sz="1600" kern="1200" dirty="0" smtClean="0">
                <a:solidFill>
                  <a:srgbClr val="FE309E"/>
                </a:solidFill>
                <a:latin typeface="Alwyn"/>
                <a:cs typeface="Alwyn"/>
              </a:defRPr>
            </a:lvl1pPr>
          </a:lstStyle>
          <a:p>
            <a:pPr lvl="0" algn="ctr">
              <a:lnSpc>
                <a:spcPct val="80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 smtClean="0"/>
          </a:p>
        </p:txBody>
      </p:sp>
      <p:grpSp>
        <p:nvGrpSpPr>
          <p:cNvPr id="19" name="Groeperen 18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27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9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8" name="Afbeelding 27"/>
            <p:cNvPicPr>
              <a:picLocks noChangeAspect="1"/>
            </p:cNvPicPr>
            <p:nvPr userDrawn="1"/>
          </p:nvPicPr>
          <p:blipFill rotWithShape="1">
            <a:blip r:embed="rId3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9716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teks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/>
          <p:nvPr userDrawn="1"/>
        </p:nvSpPr>
        <p:spPr>
          <a:xfrm>
            <a:off x="5867400" y="1412777"/>
            <a:ext cx="3276600" cy="4326465"/>
          </a:xfrm>
          <a:prstGeom prst="rect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37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8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5858054" y="2503939"/>
            <a:ext cx="3285946" cy="3970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779252" fontAlgn="auto">
              <a:spcBef>
                <a:spcPts val="852"/>
              </a:spcBef>
              <a:spcAft>
                <a:spcPts val="0"/>
              </a:spcAft>
              <a:buClr>
                <a:srgbClr val="7F004B"/>
              </a:buClr>
              <a:buNone/>
              <a:defRPr lang="nl-NL" sz="1800" kern="1200" dirty="0">
                <a:solidFill>
                  <a:schemeClr val="bg1"/>
                </a:solidFill>
                <a:latin typeface="Alwyn Medium" panose="00000500000000000000" pitchFamily="2" charset="0"/>
                <a:cs typeface="Alwyn Medium" panose="00000500000000000000" pitchFamily="2" charset="0"/>
              </a:defRPr>
            </a:lvl1pPr>
          </a:lstStyle>
          <a:p>
            <a:pPr marL="0" lvl="0" indent="0" algn="ctr" defTabSz="779252" fontAlgn="auto">
              <a:spcBef>
                <a:spcPts val="852"/>
              </a:spcBef>
              <a:spcAft>
                <a:spcPts val="0"/>
              </a:spcAft>
              <a:buClr>
                <a:srgbClr val="7F004B"/>
              </a:buClr>
              <a:buNone/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11817"/>
            <a:ext cx="5867400" cy="4326467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ce</a:t>
            </a:r>
            <a:r>
              <a:rPr kumimoji="0" 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mage</a:t>
            </a:r>
            <a:endParaRPr kumimoji="0" lang="nl-N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eperen 12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5" name="Afbeelding 14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378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11256A2-6E2B-A14F-9DD2-02C8BBE24BF7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2339999" y="2196000"/>
            <a:ext cx="6155489" cy="4212000"/>
          </a:xfrm>
          <a:solidFill>
            <a:schemeClr val="bg1">
              <a:lumMod val="85000"/>
            </a:schemeClr>
          </a:solidFill>
        </p:spPr>
        <p:txBody>
          <a:bodyPr lIns="360000" tIns="1440000" rIns="360000" anchor="t"/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40000" y="883919"/>
            <a:ext cx="6155488" cy="1204082"/>
          </a:xfrm>
        </p:spPr>
        <p:txBody>
          <a:bodyPr anchor="t" anchorCtr="0"/>
          <a:lstStyle>
            <a:lvl1pPr algn="l">
              <a:lnSpc>
                <a:spcPts val="4400"/>
              </a:lnSpc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66A4270-91F3-FD4A-A2B0-7501EB4942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325336"/>
            <a:ext cx="1066958" cy="673200"/>
          </a:xfrm>
          <a:prstGeom prst="rect">
            <a:avLst/>
          </a:prstGeom>
        </p:spPr>
      </p:pic>
      <p:sp>
        <p:nvSpPr>
          <p:cNvPr id="18" name="Rechthoek 17">
            <a:extLst>
              <a:ext uri="{FF2B5EF4-FFF2-40B4-BE49-F238E27FC236}">
                <a16:creationId xmlns:a16="http://schemas.microsoft.com/office/drawing/2014/main" id="{8338768F-D183-0240-93FD-AA44F3C3229F}"/>
              </a:ext>
            </a:extLst>
          </p:cNvPr>
          <p:cNvSpPr/>
          <p:nvPr userDrawn="1"/>
        </p:nvSpPr>
        <p:spPr>
          <a:xfrm>
            <a:off x="-1" y="6768000"/>
            <a:ext cx="2340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A28C7EC5-F122-8048-A265-C645059F94A6}"/>
              </a:ext>
            </a:extLst>
          </p:cNvPr>
          <p:cNvSpPr/>
          <p:nvPr userDrawn="1"/>
        </p:nvSpPr>
        <p:spPr>
          <a:xfrm>
            <a:off x="2340000" y="6768000"/>
            <a:ext cx="6803999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D2777D1-938F-D047-88D4-2B5E8A2D2873}"/>
              </a:ext>
            </a:extLst>
          </p:cNvPr>
          <p:cNvSpPr txBox="1">
            <a:spLocks/>
          </p:cNvSpPr>
          <p:nvPr userDrawn="1"/>
        </p:nvSpPr>
        <p:spPr>
          <a:xfrm>
            <a:off x="432000" y="5000017"/>
            <a:ext cx="3459064" cy="726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760"/>
              </a:lnSpc>
              <a:spcBef>
                <a:spcPts val="0"/>
              </a:spcBef>
              <a:buFont typeface="Arial" panose="020B0604020202020204" pitchFamily="34" charset="0"/>
              <a:buNone/>
              <a:defRPr sz="2300" i="1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2400" dirty="0">
              <a:solidFill>
                <a:schemeClr val="accent1"/>
              </a:solidFill>
            </a:endParaRPr>
          </a:p>
          <a:p>
            <a:endParaRPr lang="nl-NL" sz="2400" dirty="0">
              <a:solidFill>
                <a:schemeClr val="accent1"/>
              </a:solidFill>
            </a:endParaRPr>
          </a:p>
        </p:txBody>
      </p:sp>
      <p:sp>
        <p:nvSpPr>
          <p:cNvPr id="31" name="Tijdelijke aanduiding voor tekst 30">
            <a:extLst>
              <a:ext uri="{FF2B5EF4-FFF2-40B4-BE49-F238E27FC236}">
                <a16:creationId xmlns:a16="http://schemas.microsoft.com/office/drawing/2014/main" id="{65A90D85-784A-E443-A944-82CB20520343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1350000" y="2448000"/>
            <a:ext cx="1980000" cy="1980000"/>
          </a:xfrm>
          <a:custGeom>
            <a:avLst/>
            <a:gdLst>
              <a:gd name="connsiteX0" fmla="*/ 0 w 1980000"/>
              <a:gd name="connsiteY0" fmla="*/ 0 h 1980000"/>
              <a:gd name="connsiteX1" fmla="*/ 990000 w 1980000"/>
              <a:gd name="connsiteY1" fmla="*/ 0 h 1980000"/>
              <a:gd name="connsiteX2" fmla="*/ 1980000 w 1980000"/>
              <a:gd name="connsiteY2" fmla="*/ 0 h 1980000"/>
              <a:gd name="connsiteX3" fmla="*/ 1980000 w 1980000"/>
              <a:gd name="connsiteY3" fmla="*/ 990000 h 1980000"/>
              <a:gd name="connsiteX4" fmla="*/ 990000 w 1980000"/>
              <a:gd name="connsiteY4" fmla="*/ 990000 h 1980000"/>
              <a:gd name="connsiteX5" fmla="*/ 990000 w 1980000"/>
              <a:gd name="connsiteY5" fmla="*/ 1980000 h 1980000"/>
              <a:gd name="connsiteX6" fmla="*/ 888780 w 1980000"/>
              <a:gd name="connsiteY6" fmla="*/ 1974889 h 1980000"/>
              <a:gd name="connsiteX7" fmla="*/ 1 w 1980000"/>
              <a:gd name="connsiteY7" fmla="*/ 990000 h 1980000"/>
              <a:gd name="connsiteX8" fmla="*/ 0 w 1980000"/>
              <a:gd name="connsiteY8" fmla="*/ 990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000" h="1980000">
                <a:moveTo>
                  <a:pt x="0" y="0"/>
                </a:moveTo>
                <a:lnTo>
                  <a:pt x="990000" y="0"/>
                </a:lnTo>
                <a:lnTo>
                  <a:pt x="1980000" y="0"/>
                </a:lnTo>
                <a:lnTo>
                  <a:pt x="1980000" y="990000"/>
                </a:lnTo>
                <a:lnTo>
                  <a:pt x="990000" y="990000"/>
                </a:lnTo>
                <a:lnTo>
                  <a:pt x="990000" y="1980000"/>
                </a:lnTo>
                <a:lnTo>
                  <a:pt x="888780" y="1974889"/>
                </a:lnTo>
                <a:cubicBezTo>
                  <a:pt x="389566" y="1924191"/>
                  <a:pt x="1" y="1502590"/>
                  <a:pt x="1" y="990000"/>
                </a:cubicBezTo>
                <a:lnTo>
                  <a:pt x="0" y="990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2" name="Tijdelijke aanduiding voor tekst 31">
            <a:extLst>
              <a:ext uri="{FF2B5EF4-FFF2-40B4-BE49-F238E27FC236}">
                <a16:creationId xmlns:a16="http://schemas.microsoft.com/office/drawing/2014/main" id="{E0F70062-2CEF-2647-A825-6D21EE55EDFF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 rot="10800000">
            <a:off x="8280000" y="5814000"/>
            <a:ext cx="432000" cy="432000"/>
          </a:xfrm>
          <a:custGeom>
            <a:avLst/>
            <a:gdLst>
              <a:gd name="connsiteX0" fmla="*/ 0 w 1980000"/>
              <a:gd name="connsiteY0" fmla="*/ 0 h 1980000"/>
              <a:gd name="connsiteX1" fmla="*/ 990000 w 1980000"/>
              <a:gd name="connsiteY1" fmla="*/ 0 h 1980000"/>
              <a:gd name="connsiteX2" fmla="*/ 1980000 w 1980000"/>
              <a:gd name="connsiteY2" fmla="*/ 0 h 1980000"/>
              <a:gd name="connsiteX3" fmla="*/ 1980000 w 1980000"/>
              <a:gd name="connsiteY3" fmla="*/ 990000 h 1980000"/>
              <a:gd name="connsiteX4" fmla="*/ 990000 w 1980000"/>
              <a:gd name="connsiteY4" fmla="*/ 990000 h 1980000"/>
              <a:gd name="connsiteX5" fmla="*/ 990000 w 1980000"/>
              <a:gd name="connsiteY5" fmla="*/ 1980000 h 1980000"/>
              <a:gd name="connsiteX6" fmla="*/ 888780 w 1980000"/>
              <a:gd name="connsiteY6" fmla="*/ 1974889 h 1980000"/>
              <a:gd name="connsiteX7" fmla="*/ 1 w 1980000"/>
              <a:gd name="connsiteY7" fmla="*/ 990000 h 1980000"/>
              <a:gd name="connsiteX8" fmla="*/ 0 w 1980000"/>
              <a:gd name="connsiteY8" fmla="*/ 990000 h 19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0000" h="1980000">
                <a:moveTo>
                  <a:pt x="0" y="0"/>
                </a:moveTo>
                <a:lnTo>
                  <a:pt x="990000" y="0"/>
                </a:lnTo>
                <a:lnTo>
                  <a:pt x="1980000" y="0"/>
                </a:lnTo>
                <a:lnTo>
                  <a:pt x="1980000" y="990000"/>
                </a:lnTo>
                <a:lnTo>
                  <a:pt x="990000" y="990000"/>
                </a:lnTo>
                <a:lnTo>
                  <a:pt x="990000" y="1980000"/>
                </a:lnTo>
                <a:lnTo>
                  <a:pt x="888780" y="1974889"/>
                </a:lnTo>
                <a:cubicBezTo>
                  <a:pt x="389566" y="1924191"/>
                  <a:pt x="1" y="1502590"/>
                  <a:pt x="1" y="990000"/>
                </a:cubicBezTo>
                <a:lnTo>
                  <a:pt x="0" y="990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2722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3" name="Rectangle 6"/>
          <p:cNvSpPr/>
          <p:nvPr userDrawn="1"/>
        </p:nvSpPr>
        <p:spPr>
          <a:xfrm>
            <a:off x="1835696" y="1988840"/>
            <a:ext cx="2736304" cy="3552395"/>
          </a:xfrm>
          <a:prstGeom prst="rect">
            <a:avLst/>
          </a:prstGeom>
          <a:solidFill>
            <a:srgbClr val="F8F8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wyn Light"/>
              <a:ea typeface="Alwyn Light"/>
              <a:cs typeface="Alwyn Light"/>
            </a:endParaRPr>
          </a:p>
        </p:txBody>
      </p:sp>
      <p:sp>
        <p:nvSpPr>
          <p:cNvPr id="14" name="Rectangle 6"/>
          <p:cNvSpPr/>
          <p:nvPr userDrawn="1"/>
        </p:nvSpPr>
        <p:spPr>
          <a:xfrm>
            <a:off x="467544" y="1988840"/>
            <a:ext cx="1368152" cy="3552395"/>
          </a:xfrm>
          <a:prstGeom prst="rect">
            <a:avLst/>
          </a:prstGeom>
          <a:solidFill>
            <a:srgbClr val="00A9E1"/>
          </a:solidFill>
          <a:ln w="25400" cap="flat" cmpd="sng" algn="ctr">
            <a:noFill/>
            <a:prstDash val="solid"/>
          </a:ln>
          <a:effectLst/>
        </p:spPr>
        <p:txBody>
          <a:bodyPr tIns="216000" r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lwyn" charset="0"/>
              <a:ea typeface="Alwyn" charset="0"/>
              <a:cs typeface="Alwyn" charset="0"/>
            </a:endParaRPr>
          </a:p>
        </p:txBody>
      </p:sp>
      <p:sp>
        <p:nvSpPr>
          <p:cNvPr id="16" name="Rectangle 6"/>
          <p:cNvSpPr/>
          <p:nvPr userDrawn="1"/>
        </p:nvSpPr>
        <p:spPr>
          <a:xfrm>
            <a:off x="6084168" y="1988840"/>
            <a:ext cx="2736304" cy="3552395"/>
          </a:xfrm>
          <a:prstGeom prst="rect">
            <a:avLst/>
          </a:prstGeom>
          <a:solidFill>
            <a:srgbClr val="F8F8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wyn Light"/>
              <a:ea typeface="Alwyn Light"/>
              <a:cs typeface="Alwyn Light"/>
            </a:endParaRPr>
          </a:p>
        </p:txBody>
      </p:sp>
      <p:sp>
        <p:nvSpPr>
          <p:cNvPr id="17" name="Rectangle 6"/>
          <p:cNvSpPr/>
          <p:nvPr userDrawn="1"/>
        </p:nvSpPr>
        <p:spPr>
          <a:xfrm>
            <a:off x="4716016" y="1988840"/>
            <a:ext cx="1368152" cy="3552395"/>
          </a:xfrm>
          <a:prstGeom prst="rect">
            <a:avLst/>
          </a:prstGeom>
          <a:solidFill>
            <a:srgbClr val="F0850F"/>
          </a:solidFill>
          <a:ln w="25400" cap="flat" cmpd="sng" algn="ctr">
            <a:noFill/>
            <a:prstDash val="solid"/>
          </a:ln>
          <a:effectLst/>
        </p:spPr>
        <p:txBody>
          <a:bodyPr tIns="216000" rIns="7200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lwyn" charset="0"/>
              <a:ea typeface="Alwyn" charset="0"/>
              <a:cs typeface="Alwyn" charset="0"/>
            </a:endParaRPr>
          </a:p>
        </p:txBody>
      </p:sp>
      <p:sp>
        <p:nvSpPr>
          <p:cNvPr id="29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1964770" y="2180862"/>
            <a:ext cx="2448272" cy="4370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40400" indent="-140400">
              <a:lnSpc>
                <a:spcPct val="120000"/>
              </a:lnSpc>
              <a:defRPr lang="nl-NL" sz="160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marL="285750" lvl="0" indent="-285750">
              <a:lnSpc>
                <a:spcPct val="140000"/>
              </a:lnSpc>
              <a:spcAft>
                <a:spcPct val="0"/>
              </a:spcAft>
              <a:buClr>
                <a:srgbClr val="6F0142"/>
              </a:buClr>
              <a:buSzPct val="100000"/>
              <a:buFont typeface="Lucida Grande"/>
              <a:buChar char="•"/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469611" y="2180862"/>
            <a:ext cx="1366085" cy="2638492"/>
          </a:xfrm>
          <a:prstGeom prst="rect">
            <a:avLst/>
          </a:prstGeom>
        </p:spPr>
        <p:txBody>
          <a:bodyPr vert="horz"/>
          <a:lstStyle>
            <a:lvl1pPr>
              <a:defRPr kumimoji="0" lang="nl-NL" sz="1700" b="1" i="0" u="none" strike="noStrike" kern="0" cap="none" spc="0" normalizeH="0" baseline="0" dirty="0" smtClean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lwyn" charset="0"/>
                <a:ea typeface="Alwyn" charset="0"/>
                <a:cs typeface="Alwyn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2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612" y="1364772"/>
            <a:ext cx="4678453" cy="480053"/>
          </a:xfrm>
          <a:prstGeom prst="rect">
            <a:avLst/>
          </a:prstGeom>
        </p:spPr>
        <p:txBody>
          <a:bodyPr vert="horz"/>
          <a:lstStyle>
            <a:lvl1pPr>
              <a:defRPr kumimoji="0" lang="nl-NL" sz="1800" b="0" i="0" u="none" strike="noStrike" kern="0" cap="none" spc="0" normalizeH="0" baseline="0" dirty="0">
                <a:ln>
                  <a:noFill/>
                </a:ln>
                <a:solidFill>
                  <a:srgbClr val="6F0142"/>
                </a:solidFill>
                <a:effectLst/>
                <a:uLnTx/>
                <a:uFillTx/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/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33" name="Tijdelijke aanduiding voor tekst 20"/>
          <p:cNvSpPr>
            <a:spLocks noGrp="1"/>
          </p:cNvSpPr>
          <p:nvPr>
            <p:ph type="body" sz="quarter" idx="14" hasCustomPrompt="1"/>
          </p:nvPr>
        </p:nvSpPr>
        <p:spPr>
          <a:xfrm>
            <a:off x="6215534" y="2180862"/>
            <a:ext cx="2448272" cy="4370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40400" indent="-140400">
              <a:lnSpc>
                <a:spcPct val="120000"/>
              </a:lnSpc>
              <a:defRPr lang="nl-NL" sz="160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marL="285750" lvl="0" indent="-285750">
              <a:lnSpc>
                <a:spcPct val="140000"/>
              </a:lnSpc>
              <a:spcAft>
                <a:spcPct val="0"/>
              </a:spcAft>
              <a:buClr>
                <a:srgbClr val="6F0142"/>
              </a:buClr>
              <a:buSzPct val="100000"/>
              <a:buFont typeface="Lucida Grande"/>
              <a:buChar char="•"/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/>
          </a:p>
        </p:txBody>
      </p:sp>
      <p:sp>
        <p:nvSpPr>
          <p:cNvPr id="34" name="Tijdelijke aanduiding voor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4720376" y="2180862"/>
            <a:ext cx="1366085" cy="2638492"/>
          </a:xfrm>
          <a:prstGeom prst="rect">
            <a:avLst/>
          </a:prstGeom>
        </p:spPr>
        <p:txBody>
          <a:bodyPr vert="horz"/>
          <a:lstStyle>
            <a:lvl1pPr>
              <a:defRPr kumimoji="0" lang="nl-NL" sz="1700" b="1" i="0" u="none" strike="noStrike" kern="0" cap="none" spc="0" normalizeH="0" baseline="0" dirty="0" smtClean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lwyn" charset="0"/>
                <a:ea typeface="Alwyn" charset="0"/>
                <a:cs typeface="Alwyn" charset="0"/>
              </a:defRPr>
            </a:lvl1pPr>
          </a:lstStyle>
          <a:p>
            <a:pPr lvl="0"/>
            <a:r>
              <a:rPr lang="nl-NL" dirty="0" smtClean="0"/>
              <a:t>Headline</a:t>
            </a:r>
            <a:endParaRPr lang="nl-NL" dirty="0"/>
          </a:p>
        </p:txBody>
      </p:sp>
      <p:grpSp>
        <p:nvGrpSpPr>
          <p:cNvPr id="19" name="Groeperen 18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27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0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8" name="Afbeelding 27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4741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jl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ed Rectangle 8"/>
          <p:cNvSpPr/>
          <p:nvPr userDrawn="1"/>
        </p:nvSpPr>
        <p:spPr>
          <a:xfrm>
            <a:off x="573485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A599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37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58" name="Tijdelijke aanduiding voor tekst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73485" y="1708911"/>
            <a:ext cx="1224384" cy="672075"/>
          </a:xfrm>
          <a:prstGeom prst="rect">
            <a:avLst/>
          </a:prstGeom>
          <a:solidFill>
            <a:srgbClr val="A599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sz="1400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9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573485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60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573485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sp>
        <p:nvSpPr>
          <p:cNvPr id="83" name="Rounded Rectangle 8"/>
          <p:cNvSpPr/>
          <p:nvPr userDrawn="1"/>
        </p:nvSpPr>
        <p:spPr>
          <a:xfrm>
            <a:off x="1902932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51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84" name="Tijdelijke aanduiding voor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1902932" y="1708911"/>
            <a:ext cx="1224384" cy="672075"/>
          </a:xfrm>
          <a:prstGeom prst="rect">
            <a:avLst/>
          </a:prstGeom>
          <a:solidFill>
            <a:srgbClr val="51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85" name="Tijdelijke aanduiding voor tekst 2"/>
          <p:cNvSpPr>
            <a:spLocks noGrp="1"/>
          </p:cNvSpPr>
          <p:nvPr>
            <p:ph type="body" sz="quarter" idx="16" hasCustomPrompt="1"/>
          </p:nvPr>
        </p:nvSpPr>
        <p:spPr>
          <a:xfrm>
            <a:off x="1902932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86" name="Tijdelijke aanduiding vo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1902932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sp>
        <p:nvSpPr>
          <p:cNvPr id="87" name="Rounded Rectangle 8"/>
          <p:cNvSpPr/>
          <p:nvPr userDrawn="1"/>
        </p:nvSpPr>
        <p:spPr>
          <a:xfrm>
            <a:off x="3237783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985F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88" name="Tijdelijke aanduiding voor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3237783" y="1708911"/>
            <a:ext cx="1224384" cy="672075"/>
          </a:xfrm>
          <a:prstGeom prst="rect">
            <a:avLst/>
          </a:prstGeom>
          <a:solidFill>
            <a:srgbClr val="985F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89" name="Tijdelijke aanduiding voor tekst 2"/>
          <p:cNvSpPr>
            <a:spLocks noGrp="1"/>
          </p:cNvSpPr>
          <p:nvPr>
            <p:ph type="body" sz="quarter" idx="19" hasCustomPrompt="1"/>
          </p:nvPr>
        </p:nvSpPr>
        <p:spPr>
          <a:xfrm>
            <a:off x="3237783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90" name="Tijdelijke aanduiding voor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3237783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sp>
        <p:nvSpPr>
          <p:cNvPr id="91" name="Rounded Rectangle 8"/>
          <p:cNvSpPr/>
          <p:nvPr userDrawn="1"/>
        </p:nvSpPr>
        <p:spPr>
          <a:xfrm>
            <a:off x="4561471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1E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92" name="Tijdelijke aanduiding voor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4561471" y="1708911"/>
            <a:ext cx="1224384" cy="672075"/>
          </a:xfrm>
          <a:prstGeom prst="rect">
            <a:avLst/>
          </a:prstGeom>
          <a:solidFill>
            <a:srgbClr val="1E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3" name="Tijdelijke aanduiding voor tekst 2"/>
          <p:cNvSpPr>
            <a:spLocks noGrp="1"/>
          </p:cNvSpPr>
          <p:nvPr>
            <p:ph type="body" sz="quarter" idx="22" hasCustomPrompt="1"/>
          </p:nvPr>
        </p:nvSpPr>
        <p:spPr>
          <a:xfrm>
            <a:off x="4561471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94" name="Tijdelijke aanduiding voor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561471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sp>
        <p:nvSpPr>
          <p:cNvPr id="95" name="Rounded Rectangle 8"/>
          <p:cNvSpPr/>
          <p:nvPr userDrawn="1"/>
        </p:nvSpPr>
        <p:spPr>
          <a:xfrm>
            <a:off x="5890918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6F84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96" name="Tijdelijke aanduiding voor tekst 2"/>
          <p:cNvSpPr>
            <a:spLocks noGrp="1"/>
          </p:cNvSpPr>
          <p:nvPr>
            <p:ph type="body" sz="quarter" idx="24" hasCustomPrompt="1"/>
          </p:nvPr>
        </p:nvSpPr>
        <p:spPr>
          <a:xfrm>
            <a:off x="5890918" y="1708911"/>
            <a:ext cx="1224384" cy="672075"/>
          </a:xfrm>
          <a:prstGeom prst="rect">
            <a:avLst/>
          </a:prstGeom>
          <a:solidFill>
            <a:srgbClr val="6F84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7" name="Tijdelijke aanduiding voor tekst 2"/>
          <p:cNvSpPr>
            <a:spLocks noGrp="1"/>
          </p:cNvSpPr>
          <p:nvPr>
            <p:ph type="body" sz="quarter" idx="25" hasCustomPrompt="1"/>
          </p:nvPr>
        </p:nvSpPr>
        <p:spPr>
          <a:xfrm>
            <a:off x="5890918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98" name="Tijdelijke aanduiding voor tekst 2"/>
          <p:cNvSpPr>
            <a:spLocks noGrp="1"/>
          </p:cNvSpPr>
          <p:nvPr>
            <p:ph type="body" sz="quarter" idx="26" hasCustomPrompt="1"/>
          </p:nvPr>
        </p:nvSpPr>
        <p:spPr>
          <a:xfrm>
            <a:off x="5890918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sp>
        <p:nvSpPr>
          <p:cNvPr id="99" name="Rounded Rectangle 8"/>
          <p:cNvSpPr/>
          <p:nvPr userDrawn="1"/>
        </p:nvSpPr>
        <p:spPr>
          <a:xfrm>
            <a:off x="7225768" y="4645960"/>
            <a:ext cx="1226459" cy="799265"/>
          </a:xfrm>
          <a:prstGeom prst="roundRect">
            <a:avLst>
              <a:gd name="adj" fmla="val 8334"/>
            </a:avLst>
          </a:prstGeom>
          <a:solidFill>
            <a:srgbClr val="70CA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Alwyn Bold"/>
              <a:ea typeface="Alwyn Light"/>
              <a:cs typeface="Alwyn Bold"/>
            </a:endParaRPr>
          </a:p>
        </p:txBody>
      </p:sp>
      <p:sp>
        <p:nvSpPr>
          <p:cNvPr id="100" name="Tijdelijke aanduiding voor tekst 2"/>
          <p:cNvSpPr>
            <a:spLocks noGrp="1"/>
          </p:cNvSpPr>
          <p:nvPr>
            <p:ph type="body" sz="quarter" idx="27" hasCustomPrompt="1"/>
          </p:nvPr>
        </p:nvSpPr>
        <p:spPr>
          <a:xfrm>
            <a:off x="7225768" y="1708911"/>
            <a:ext cx="1224384" cy="672075"/>
          </a:xfrm>
          <a:prstGeom prst="rect">
            <a:avLst/>
          </a:prstGeom>
          <a:solidFill>
            <a:srgbClr val="70CA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>
            <a:lvl1pPr>
              <a:defRPr lang="nl-NL" kern="1200" cap="all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lnSpc>
                <a:spcPct val="90000"/>
              </a:lnSpc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1" name="Tijdelijke aanduiding voor tekst 2"/>
          <p:cNvSpPr>
            <a:spLocks noGrp="1"/>
          </p:cNvSpPr>
          <p:nvPr>
            <p:ph type="body" sz="quarter" idx="28" hasCustomPrompt="1"/>
          </p:nvPr>
        </p:nvSpPr>
        <p:spPr>
          <a:xfrm>
            <a:off x="7225768" y="2386244"/>
            <a:ext cx="1224384" cy="2367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b="0" kern="1200" dirty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 algn="ctr">
              <a:spcBef>
                <a:spcPts val="600"/>
              </a:spcBef>
              <a:spcAft>
                <a:spcPct val="0"/>
              </a:spcAft>
            </a:pPr>
            <a:r>
              <a:rPr lang="nl-NL" dirty="0" err="1" smtClean="0"/>
              <a:t>text</a:t>
            </a:r>
            <a:endParaRPr lang="nl-NL" dirty="0"/>
          </a:p>
        </p:txBody>
      </p:sp>
      <p:sp>
        <p:nvSpPr>
          <p:cNvPr id="102" name="Tijdelijke aanduiding voor tekst 2"/>
          <p:cNvSpPr>
            <a:spLocks noGrp="1"/>
          </p:cNvSpPr>
          <p:nvPr>
            <p:ph type="body" sz="quarter" idx="29" hasCustomPrompt="1"/>
          </p:nvPr>
        </p:nvSpPr>
        <p:spPr>
          <a:xfrm>
            <a:off x="7225768" y="4756911"/>
            <a:ext cx="1234664" cy="672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600" kern="1200" dirty="0">
                <a:solidFill>
                  <a:schemeClr val="bg1"/>
                </a:solidFill>
                <a:latin typeface="Alwyn Bold"/>
                <a:ea typeface="Alwyn Light"/>
                <a:cs typeface="Alwyn Bold"/>
              </a:defRPr>
            </a:lvl1pPr>
          </a:lstStyle>
          <a:p>
            <a:pPr lvl="0" algn="ctr">
              <a:spcAft>
                <a:spcPct val="0"/>
              </a:spcAft>
            </a:pPr>
            <a:r>
              <a:rPr lang="nl-NL" dirty="0" err="1" smtClean="0"/>
              <a:t>Number</a:t>
            </a:r>
            <a:endParaRPr lang="nl-NL" dirty="0"/>
          </a:p>
        </p:txBody>
      </p:sp>
      <p:grpSp>
        <p:nvGrpSpPr>
          <p:cNvPr id="34" name="Groeperen 33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35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8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6" name="Afbeelding 35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5282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jl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tekst 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3" name="Tijdelijke aanduiding voor tekst 1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sz="quarter" idx="12" hasCustomPrompt="1"/>
          </p:nvPr>
        </p:nvSpPr>
        <p:spPr>
          <a:xfrm>
            <a:off x="395536" y="1906572"/>
            <a:ext cx="1828800" cy="2438400"/>
          </a:xfrm>
          <a:prstGeom prst="rect">
            <a:avLst/>
          </a:prstGeom>
        </p:spPr>
        <p:txBody>
          <a:bodyPr vert="horz"/>
          <a:lstStyle>
            <a:lvl1pPr>
              <a:defRPr sz="1400" baseline="0"/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mage</a:t>
            </a:r>
            <a:endParaRPr lang="nl-NL" dirty="0"/>
          </a:p>
        </p:txBody>
      </p:sp>
      <p:sp>
        <p:nvSpPr>
          <p:cNvPr id="56" name="Tijdelijke aanduiding voor afbeelding 2"/>
          <p:cNvSpPr>
            <a:spLocks noGrp="1"/>
          </p:cNvSpPr>
          <p:nvPr>
            <p:ph type="pic" sz="quarter" idx="13" hasCustomPrompt="1"/>
          </p:nvPr>
        </p:nvSpPr>
        <p:spPr>
          <a:xfrm>
            <a:off x="2536392" y="1906572"/>
            <a:ext cx="1828800" cy="2438400"/>
          </a:xfrm>
          <a:prstGeom prst="rect">
            <a:avLst/>
          </a:prstGeom>
        </p:spPr>
        <p:txBody>
          <a:bodyPr vert="horz"/>
          <a:lstStyle>
            <a:lvl1pPr>
              <a:defRPr baseline="0"/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mage</a:t>
            </a:r>
            <a:endParaRPr lang="nl-NL" dirty="0"/>
          </a:p>
        </p:txBody>
      </p:sp>
      <p:sp>
        <p:nvSpPr>
          <p:cNvPr id="57" name="Tijdelijke aanduiding voor afbeelding 2"/>
          <p:cNvSpPr>
            <a:spLocks noGrp="1"/>
          </p:cNvSpPr>
          <p:nvPr>
            <p:ph type="pic" sz="quarter" idx="14" hasCustomPrompt="1"/>
          </p:nvPr>
        </p:nvSpPr>
        <p:spPr>
          <a:xfrm>
            <a:off x="4713535" y="1906572"/>
            <a:ext cx="1828800" cy="2438400"/>
          </a:xfrm>
          <a:prstGeom prst="rect">
            <a:avLst/>
          </a:prstGeom>
        </p:spPr>
        <p:txBody>
          <a:bodyPr vert="horz"/>
          <a:lstStyle>
            <a:lvl1pPr>
              <a:defRPr baseline="0"/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mage</a:t>
            </a:r>
            <a:endParaRPr lang="nl-NL" dirty="0"/>
          </a:p>
        </p:txBody>
      </p:sp>
      <p:sp>
        <p:nvSpPr>
          <p:cNvPr id="61" name="Tijdelijke aanduiding voor afbeelding 2"/>
          <p:cNvSpPr>
            <a:spLocks noGrp="1"/>
          </p:cNvSpPr>
          <p:nvPr>
            <p:ph type="pic" sz="quarter" idx="15" hasCustomPrompt="1"/>
          </p:nvPr>
        </p:nvSpPr>
        <p:spPr>
          <a:xfrm>
            <a:off x="6890678" y="1906572"/>
            <a:ext cx="1828800" cy="2438400"/>
          </a:xfrm>
          <a:prstGeom prst="rect">
            <a:avLst/>
          </a:prstGeom>
        </p:spPr>
        <p:txBody>
          <a:bodyPr vert="horz"/>
          <a:lstStyle>
            <a:lvl1pPr>
              <a:defRPr baseline="0"/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mage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417350" y="438910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64" name="Tijdelijke aanduiding voor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417350" y="467720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66" name="Tijdelijke aanduiding vo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2546540" y="438910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67" name="Tijdelijke aanduiding voor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2546540" y="467720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68" name="Tijdelijke aanduiding vo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4731762" y="438910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69" name="Tijdelijke aanduiding voor tekst 4"/>
          <p:cNvSpPr>
            <a:spLocks noGrp="1"/>
          </p:cNvSpPr>
          <p:nvPr>
            <p:ph type="body" sz="quarter" idx="21" hasCustomPrompt="1"/>
          </p:nvPr>
        </p:nvSpPr>
        <p:spPr>
          <a:xfrm>
            <a:off x="4731762" y="467720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70" name="Tijdelijke aanduiding vo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6904532" y="438910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71" name="Tijdelijke aanduiding voor tekst 4"/>
          <p:cNvSpPr>
            <a:spLocks noGrp="1"/>
          </p:cNvSpPr>
          <p:nvPr>
            <p:ph type="body" sz="quarter" idx="23" hasCustomPrompt="1"/>
          </p:nvPr>
        </p:nvSpPr>
        <p:spPr>
          <a:xfrm>
            <a:off x="6904532" y="467720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grpSp>
        <p:nvGrpSpPr>
          <p:cNvPr id="27" name="Groeperen 26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28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0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9" name="Afbeelding 28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1199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jl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tekst 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3" name="Tijdelijke aanduiding voor tekst 1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28" name="Oval 3"/>
          <p:cNvSpPr/>
          <p:nvPr/>
        </p:nvSpPr>
        <p:spPr>
          <a:xfrm>
            <a:off x="3487356" y="1988840"/>
            <a:ext cx="2362200" cy="3149600"/>
          </a:xfrm>
          <a:prstGeom prst="ellipse">
            <a:avLst/>
          </a:prstGeom>
          <a:solidFill>
            <a:srgbClr val="1E2D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5" name="Oval 1"/>
          <p:cNvSpPr/>
          <p:nvPr/>
        </p:nvSpPr>
        <p:spPr>
          <a:xfrm>
            <a:off x="744156" y="1988841"/>
            <a:ext cx="2362200" cy="3149600"/>
          </a:xfrm>
          <a:prstGeom prst="ellipse">
            <a:avLst/>
          </a:prstGeom>
          <a:solidFill>
            <a:srgbClr val="6F84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Oval 4"/>
          <p:cNvSpPr/>
          <p:nvPr/>
        </p:nvSpPr>
        <p:spPr>
          <a:xfrm>
            <a:off x="6172200" y="1988840"/>
            <a:ext cx="2362200" cy="3149600"/>
          </a:xfrm>
          <a:prstGeom prst="ellipse">
            <a:avLst/>
          </a:prstGeom>
          <a:solidFill>
            <a:srgbClr val="985F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0" name="Tijdelijke aanduiding voor tekst 4"/>
          <p:cNvSpPr>
            <a:spLocks noGrp="1"/>
          </p:cNvSpPr>
          <p:nvPr>
            <p:ph type="body" sz="quarter" idx="16" hasCustomPrompt="1"/>
          </p:nvPr>
        </p:nvSpPr>
        <p:spPr>
          <a:xfrm>
            <a:off x="770576" y="3525012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51" name="Tijdelijke aanduiding voor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770576" y="3813109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54" name="Tijdelijke aanduiding voor illustratie 3"/>
          <p:cNvSpPr>
            <a:spLocks noGrp="1"/>
          </p:cNvSpPr>
          <p:nvPr>
            <p:ph type="clipArt" sz="quarter" idx="24" hasCustomPrompt="1"/>
          </p:nvPr>
        </p:nvSpPr>
        <p:spPr>
          <a:xfrm>
            <a:off x="765887" y="1988841"/>
            <a:ext cx="2325470" cy="1536171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58" name="Tijdelijke aanduiding voor tekst 4"/>
          <p:cNvSpPr>
            <a:spLocks noGrp="1"/>
          </p:cNvSpPr>
          <p:nvPr>
            <p:ph type="body" sz="quarter" idx="25" hasCustomPrompt="1"/>
          </p:nvPr>
        </p:nvSpPr>
        <p:spPr>
          <a:xfrm>
            <a:off x="3510651" y="3525012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59" name="Tijdelijke aanduiding voor tekst 4"/>
          <p:cNvSpPr>
            <a:spLocks noGrp="1"/>
          </p:cNvSpPr>
          <p:nvPr>
            <p:ph type="body" sz="quarter" idx="26" hasCustomPrompt="1"/>
          </p:nvPr>
        </p:nvSpPr>
        <p:spPr>
          <a:xfrm>
            <a:off x="3510651" y="3813109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60" name="Tijdelijke aanduiding voor illustratie 3"/>
          <p:cNvSpPr>
            <a:spLocks noGrp="1"/>
          </p:cNvSpPr>
          <p:nvPr>
            <p:ph type="clipArt" sz="quarter" idx="27" hasCustomPrompt="1"/>
          </p:nvPr>
        </p:nvSpPr>
        <p:spPr>
          <a:xfrm>
            <a:off x="3505962" y="1988841"/>
            <a:ext cx="2325470" cy="1536171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62" name="Tijdelijke aanduiding voor tekst 4"/>
          <p:cNvSpPr>
            <a:spLocks noGrp="1"/>
          </p:cNvSpPr>
          <p:nvPr>
            <p:ph type="body" sz="quarter" idx="28" hasCustomPrompt="1"/>
          </p:nvPr>
        </p:nvSpPr>
        <p:spPr>
          <a:xfrm>
            <a:off x="6200725" y="3525012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63" name="Tijdelijke aanduiding voor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6200725" y="3813109"/>
            <a:ext cx="2318510" cy="384107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bg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65" name="Tijdelijke aanduiding voor illustratie 3"/>
          <p:cNvSpPr>
            <a:spLocks noGrp="1"/>
          </p:cNvSpPr>
          <p:nvPr>
            <p:ph type="clipArt" sz="quarter" idx="30" hasCustomPrompt="1"/>
          </p:nvPr>
        </p:nvSpPr>
        <p:spPr>
          <a:xfrm>
            <a:off x="6196036" y="1988841"/>
            <a:ext cx="2325470" cy="1536171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e</a:t>
            </a:r>
            <a:r>
              <a:rPr lang="nl-NL" dirty="0" smtClean="0"/>
              <a:t> icon</a:t>
            </a:r>
            <a:endParaRPr lang="nl-NL" dirty="0"/>
          </a:p>
        </p:txBody>
      </p:sp>
      <p:grpSp>
        <p:nvGrpSpPr>
          <p:cNvPr id="27" name="Groeperen 26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29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1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0" name="Afbeelding 29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4429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jngrafiek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grpSp>
        <p:nvGrpSpPr>
          <p:cNvPr id="12" name="Groeperen 11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3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4" name="Afbeelding 13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graphicFrame>
        <p:nvGraphicFramePr>
          <p:cNvPr id="20" name="Chart 1"/>
          <p:cNvGraphicFramePr/>
          <p:nvPr userDrawn="1">
            <p:extLst/>
          </p:nvPr>
        </p:nvGraphicFramePr>
        <p:xfrm>
          <a:off x="272720" y="1883635"/>
          <a:ext cx="8708776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920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jngrafiek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grpSp>
        <p:nvGrpSpPr>
          <p:cNvPr id="12" name="Groeperen 11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3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4" name="Afbeelding 13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graphicFrame>
        <p:nvGraphicFramePr>
          <p:cNvPr id="21" name="Chart 1"/>
          <p:cNvGraphicFramePr/>
          <p:nvPr userDrawn="1">
            <p:extLst/>
          </p:nvPr>
        </p:nvGraphicFramePr>
        <p:xfrm>
          <a:off x="272720" y="1883635"/>
          <a:ext cx="8708776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9683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jngrafie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grpSp>
        <p:nvGrpSpPr>
          <p:cNvPr id="12" name="Groeperen 11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3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4" name="Afbeelding 13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graphicFrame>
        <p:nvGraphicFramePr>
          <p:cNvPr id="21" name="Chart 1"/>
          <p:cNvGraphicFramePr/>
          <p:nvPr userDrawn="1">
            <p:extLst/>
          </p:nvPr>
        </p:nvGraphicFramePr>
        <p:xfrm>
          <a:off x="395288" y="1883635"/>
          <a:ext cx="8586208" cy="4233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2414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14"/>
          <p:cNvSpPr>
            <a:spLocks/>
          </p:cNvSpPr>
          <p:nvPr/>
        </p:nvSpPr>
        <p:spPr bwMode="auto">
          <a:xfrm>
            <a:off x="5027550" y="5927628"/>
            <a:ext cx="1382184" cy="951088"/>
          </a:xfrm>
          <a:custGeom>
            <a:avLst/>
            <a:gdLst>
              <a:gd name="T0" fmla="*/ 311 w 653"/>
              <a:gd name="T1" fmla="*/ 0 h 337"/>
              <a:gd name="T2" fmla="*/ 653 w 653"/>
              <a:gd name="T3" fmla="*/ 337 h 337"/>
              <a:gd name="T4" fmla="*/ 311 w 653"/>
              <a:gd name="T5" fmla="*/ 337 h 337"/>
              <a:gd name="T6" fmla="*/ 0 w 653"/>
              <a:gd name="T7" fmla="*/ 0 h 337"/>
              <a:gd name="T8" fmla="*/ 311 w 653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3" h="337">
                <a:moveTo>
                  <a:pt x="311" y="0"/>
                </a:moveTo>
                <a:lnTo>
                  <a:pt x="653" y="337"/>
                </a:lnTo>
                <a:lnTo>
                  <a:pt x="311" y="337"/>
                </a:lnTo>
                <a:lnTo>
                  <a:pt x="0" y="0"/>
                </a:lnTo>
                <a:lnTo>
                  <a:pt x="311" y="0"/>
                </a:lnTo>
                <a:close/>
              </a:path>
            </a:pathLst>
          </a:custGeom>
          <a:solidFill>
            <a:srgbClr val="5291A8"/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38" name="Freeform 18"/>
          <p:cNvSpPr>
            <a:spLocks/>
          </p:cNvSpPr>
          <p:nvPr/>
        </p:nvSpPr>
        <p:spPr bwMode="auto">
          <a:xfrm>
            <a:off x="4369269" y="5927629"/>
            <a:ext cx="1316567" cy="951088"/>
          </a:xfrm>
          <a:custGeom>
            <a:avLst/>
            <a:gdLst>
              <a:gd name="T0" fmla="*/ 311 w 622"/>
              <a:gd name="T1" fmla="*/ 0 h 337"/>
              <a:gd name="T2" fmla="*/ 622 w 622"/>
              <a:gd name="T3" fmla="*/ 337 h 337"/>
              <a:gd name="T4" fmla="*/ 171 w 622"/>
              <a:gd name="T5" fmla="*/ 337 h 337"/>
              <a:gd name="T6" fmla="*/ 0 w 622"/>
              <a:gd name="T7" fmla="*/ 0 h 337"/>
              <a:gd name="T8" fmla="*/ 311 w 622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2" h="337">
                <a:moveTo>
                  <a:pt x="311" y="0"/>
                </a:moveTo>
                <a:lnTo>
                  <a:pt x="622" y="337"/>
                </a:lnTo>
                <a:lnTo>
                  <a:pt x="171" y="337"/>
                </a:lnTo>
                <a:lnTo>
                  <a:pt x="0" y="0"/>
                </a:lnTo>
                <a:lnTo>
                  <a:pt x="311" y="0"/>
                </a:lnTo>
                <a:close/>
              </a:path>
            </a:pathLst>
          </a:custGeom>
          <a:solidFill>
            <a:srgbClr val="B3685A"/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44" name="Freeform 20"/>
          <p:cNvSpPr>
            <a:spLocks/>
          </p:cNvSpPr>
          <p:nvPr/>
        </p:nvSpPr>
        <p:spPr bwMode="auto">
          <a:xfrm>
            <a:off x="3717335" y="5927628"/>
            <a:ext cx="1013884" cy="951088"/>
          </a:xfrm>
          <a:custGeom>
            <a:avLst/>
            <a:gdLst>
              <a:gd name="T0" fmla="*/ 308 w 479"/>
              <a:gd name="T1" fmla="*/ 0 h 337"/>
              <a:gd name="T2" fmla="*/ 479 w 479"/>
              <a:gd name="T3" fmla="*/ 337 h 337"/>
              <a:gd name="T4" fmla="*/ 111 w 479"/>
              <a:gd name="T5" fmla="*/ 337 h 337"/>
              <a:gd name="T6" fmla="*/ 0 w 479"/>
              <a:gd name="T7" fmla="*/ 0 h 337"/>
              <a:gd name="T8" fmla="*/ 308 w 479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9" h="337">
                <a:moveTo>
                  <a:pt x="308" y="0"/>
                </a:moveTo>
                <a:lnTo>
                  <a:pt x="479" y="337"/>
                </a:lnTo>
                <a:lnTo>
                  <a:pt x="111" y="337"/>
                </a:lnTo>
                <a:lnTo>
                  <a:pt x="0" y="0"/>
                </a:lnTo>
                <a:lnTo>
                  <a:pt x="308" y="0"/>
                </a:lnTo>
                <a:close/>
              </a:path>
            </a:pathLst>
          </a:custGeom>
          <a:solidFill>
            <a:srgbClr val="636973">
              <a:alpha val="89000"/>
            </a:srgbClr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57" name="Freeform 23"/>
          <p:cNvSpPr>
            <a:spLocks/>
          </p:cNvSpPr>
          <p:nvPr/>
        </p:nvSpPr>
        <p:spPr bwMode="auto">
          <a:xfrm>
            <a:off x="2593384" y="5927628"/>
            <a:ext cx="1358900" cy="951088"/>
          </a:xfrm>
          <a:custGeom>
            <a:avLst/>
            <a:gdLst>
              <a:gd name="T0" fmla="*/ 114 w 642"/>
              <a:gd name="T1" fmla="*/ 0 h 337"/>
              <a:gd name="T2" fmla="*/ 0 w 642"/>
              <a:gd name="T3" fmla="*/ 337 h 337"/>
              <a:gd name="T4" fmla="*/ 642 w 642"/>
              <a:gd name="T5" fmla="*/ 337 h 337"/>
              <a:gd name="T6" fmla="*/ 531 w 642"/>
              <a:gd name="T7" fmla="*/ 0 h 337"/>
              <a:gd name="T8" fmla="*/ 114 w 642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2" h="337">
                <a:moveTo>
                  <a:pt x="114" y="0"/>
                </a:moveTo>
                <a:lnTo>
                  <a:pt x="0" y="337"/>
                </a:lnTo>
                <a:lnTo>
                  <a:pt x="642" y="337"/>
                </a:lnTo>
                <a:lnTo>
                  <a:pt x="531" y="0"/>
                </a:lnTo>
                <a:lnTo>
                  <a:pt x="114" y="0"/>
                </a:lnTo>
                <a:close/>
              </a:path>
            </a:pathLst>
          </a:custGeom>
          <a:solidFill>
            <a:srgbClr val="2A3139">
              <a:alpha val="89000"/>
            </a:srgbClr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82" name="Freeform 13"/>
          <p:cNvSpPr>
            <a:spLocks/>
          </p:cNvSpPr>
          <p:nvPr/>
        </p:nvSpPr>
        <p:spPr bwMode="auto">
          <a:xfrm>
            <a:off x="138052" y="5927628"/>
            <a:ext cx="1386417" cy="951088"/>
          </a:xfrm>
          <a:custGeom>
            <a:avLst/>
            <a:gdLst>
              <a:gd name="T0" fmla="*/ 344 w 655"/>
              <a:gd name="T1" fmla="*/ 0 h 337"/>
              <a:gd name="T2" fmla="*/ 0 w 655"/>
              <a:gd name="T3" fmla="*/ 337 h 337"/>
              <a:gd name="T4" fmla="*/ 342 w 655"/>
              <a:gd name="T5" fmla="*/ 337 h 337"/>
              <a:gd name="T6" fmla="*/ 655 w 655"/>
              <a:gd name="T7" fmla="*/ 0 h 337"/>
              <a:gd name="T8" fmla="*/ 344 w 655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5" h="337">
                <a:moveTo>
                  <a:pt x="344" y="0"/>
                </a:moveTo>
                <a:lnTo>
                  <a:pt x="0" y="337"/>
                </a:lnTo>
                <a:lnTo>
                  <a:pt x="342" y="337"/>
                </a:lnTo>
                <a:lnTo>
                  <a:pt x="655" y="0"/>
                </a:lnTo>
                <a:lnTo>
                  <a:pt x="344" y="0"/>
                </a:lnTo>
                <a:close/>
              </a:path>
            </a:pathLst>
          </a:custGeom>
          <a:solidFill>
            <a:srgbClr val="776F6F"/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92" name="Freeform 19"/>
          <p:cNvSpPr>
            <a:spLocks/>
          </p:cNvSpPr>
          <p:nvPr/>
        </p:nvSpPr>
        <p:spPr bwMode="auto">
          <a:xfrm>
            <a:off x="1820801" y="5927628"/>
            <a:ext cx="1013884" cy="951088"/>
          </a:xfrm>
          <a:custGeom>
            <a:avLst/>
            <a:gdLst>
              <a:gd name="T0" fmla="*/ 168 w 479"/>
              <a:gd name="T1" fmla="*/ 0 h 337"/>
              <a:gd name="T2" fmla="*/ 0 w 479"/>
              <a:gd name="T3" fmla="*/ 337 h 337"/>
              <a:gd name="T4" fmla="*/ 365 w 479"/>
              <a:gd name="T5" fmla="*/ 337 h 337"/>
              <a:gd name="T6" fmla="*/ 479 w 479"/>
              <a:gd name="T7" fmla="*/ 0 h 337"/>
              <a:gd name="T8" fmla="*/ 168 w 479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9" h="337">
                <a:moveTo>
                  <a:pt x="168" y="0"/>
                </a:moveTo>
                <a:lnTo>
                  <a:pt x="0" y="337"/>
                </a:lnTo>
                <a:lnTo>
                  <a:pt x="365" y="337"/>
                </a:lnTo>
                <a:lnTo>
                  <a:pt x="479" y="0"/>
                </a:lnTo>
                <a:lnTo>
                  <a:pt x="168" y="0"/>
                </a:lnTo>
                <a:close/>
              </a:path>
            </a:pathLst>
          </a:custGeom>
          <a:solidFill>
            <a:srgbClr val="6E4635"/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97" name="Freeform 17"/>
          <p:cNvSpPr>
            <a:spLocks/>
          </p:cNvSpPr>
          <p:nvPr/>
        </p:nvSpPr>
        <p:spPr bwMode="auto">
          <a:xfrm>
            <a:off x="861951" y="5927629"/>
            <a:ext cx="1314451" cy="951088"/>
          </a:xfrm>
          <a:custGeom>
            <a:avLst/>
            <a:gdLst>
              <a:gd name="T0" fmla="*/ 313 w 621"/>
              <a:gd name="T1" fmla="*/ 0 h 337"/>
              <a:gd name="T2" fmla="*/ 0 w 621"/>
              <a:gd name="T3" fmla="*/ 337 h 337"/>
              <a:gd name="T4" fmla="*/ 453 w 621"/>
              <a:gd name="T5" fmla="*/ 337 h 337"/>
              <a:gd name="T6" fmla="*/ 621 w 621"/>
              <a:gd name="T7" fmla="*/ 0 h 337"/>
              <a:gd name="T8" fmla="*/ 313 w 621"/>
              <a:gd name="T9" fmla="*/ 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1" h="337">
                <a:moveTo>
                  <a:pt x="313" y="0"/>
                </a:moveTo>
                <a:lnTo>
                  <a:pt x="0" y="337"/>
                </a:lnTo>
                <a:lnTo>
                  <a:pt x="453" y="337"/>
                </a:lnTo>
                <a:lnTo>
                  <a:pt x="621" y="0"/>
                </a:lnTo>
                <a:lnTo>
                  <a:pt x="313" y="0"/>
                </a:lnTo>
                <a:close/>
              </a:path>
            </a:pathLst>
          </a:custGeom>
          <a:solidFill>
            <a:srgbClr val="3B2B2B"/>
          </a:solidFill>
          <a:ln w="5" cap="flat">
            <a:noFill/>
            <a:prstDash val="solid"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 dirty="0">
              <a:latin typeface="Alwyn"/>
              <a:ea typeface="Alwyn"/>
              <a:cs typeface="Alwyn"/>
            </a:endParaRPr>
          </a:p>
        </p:txBody>
      </p:sp>
      <p:sp>
        <p:nvSpPr>
          <p:cNvPr id="102" name="Tijdelijke aanduiding voor illustratie 3"/>
          <p:cNvSpPr>
            <a:spLocks noGrp="1"/>
          </p:cNvSpPr>
          <p:nvPr userDrawn="1">
            <p:ph type="clipArt" sz="quarter" idx="24" hasCustomPrompt="1"/>
          </p:nvPr>
        </p:nvSpPr>
        <p:spPr>
          <a:xfrm>
            <a:off x="866185" y="2140206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-82662" y="4488741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3" name="Tijdelijke aanduiding voor tekst 2"/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572357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4" name="Tijdelijke aanduiding voor tekst 2"/>
          <p:cNvSpPr>
            <a:spLocks noGrp="1"/>
          </p:cNvSpPr>
          <p:nvPr>
            <p:ph type="body" sz="quarter" idx="27" hasCustomPrompt="1"/>
          </p:nvPr>
        </p:nvSpPr>
        <p:spPr>
          <a:xfrm rot="16200000">
            <a:off x="1222376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5" name="Tijdelijke aanduiding voor tekst 2"/>
          <p:cNvSpPr>
            <a:spLocks noGrp="1"/>
          </p:cNvSpPr>
          <p:nvPr>
            <p:ph type="body" sz="quarter" idx="28" hasCustomPrompt="1"/>
          </p:nvPr>
        </p:nvSpPr>
        <p:spPr>
          <a:xfrm rot="16200000">
            <a:off x="2012399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6" name="Tijdelijke aanduiding voor tekst 2"/>
          <p:cNvSpPr>
            <a:spLocks noGrp="1"/>
          </p:cNvSpPr>
          <p:nvPr>
            <p:ph type="body" sz="quarter" idx="29" hasCustomPrompt="1"/>
          </p:nvPr>
        </p:nvSpPr>
        <p:spPr>
          <a:xfrm rot="16200000">
            <a:off x="2757421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7" name="Tijdelijke aanduiding voor tekst 2"/>
          <p:cNvSpPr>
            <a:spLocks noGrp="1"/>
          </p:cNvSpPr>
          <p:nvPr>
            <p:ph type="body" sz="quarter" idx="30" hasCustomPrompt="1"/>
          </p:nvPr>
        </p:nvSpPr>
        <p:spPr>
          <a:xfrm rot="16200000">
            <a:off x="3407439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8" name="Tijdelijke aanduiding voor tekst 2"/>
          <p:cNvSpPr>
            <a:spLocks noGrp="1"/>
          </p:cNvSpPr>
          <p:nvPr>
            <p:ph type="body" sz="quarter" idx="31" hasCustomPrompt="1"/>
          </p:nvPr>
        </p:nvSpPr>
        <p:spPr>
          <a:xfrm rot="16200000">
            <a:off x="4127459" y="4488742"/>
            <a:ext cx="25146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dirty="0" smtClean="0">
                <a:solidFill>
                  <a:srgbClr val="F8F8F8"/>
                </a:solidFill>
                <a:latin typeface="Alwyn"/>
                <a:ea typeface="Alwyn"/>
                <a:cs typeface="Alwyn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09" name="Tijdelijke aanduiding voor illustratie 3"/>
          <p:cNvSpPr>
            <a:spLocks noGrp="1"/>
          </p:cNvSpPr>
          <p:nvPr>
            <p:ph type="clipArt" sz="quarter" idx="32" hasCustomPrompt="1"/>
          </p:nvPr>
        </p:nvSpPr>
        <p:spPr>
          <a:xfrm>
            <a:off x="1526203" y="1553569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10" name="Tijdelijke aanduiding voor illustratie 3"/>
          <p:cNvSpPr>
            <a:spLocks noGrp="1"/>
          </p:cNvSpPr>
          <p:nvPr>
            <p:ph type="clipArt" sz="quarter" idx="33" hasCustomPrompt="1"/>
          </p:nvPr>
        </p:nvSpPr>
        <p:spPr>
          <a:xfrm>
            <a:off x="2171221" y="853602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11" name="Tijdelijke aanduiding voor illustratie 3"/>
          <p:cNvSpPr>
            <a:spLocks noGrp="1"/>
          </p:cNvSpPr>
          <p:nvPr>
            <p:ph type="clipArt" sz="quarter" idx="34" hasCustomPrompt="1"/>
          </p:nvPr>
        </p:nvSpPr>
        <p:spPr>
          <a:xfrm>
            <a:off x="2946242" y="326961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12" name="Tijdelijke aanduiding voor illustratie 3"/>
          <p:cNvSpPr>
            <a:spLocks noGrp="1"/>
          </p:cNvSpPr>
          <p:nvPr>
            <p:ph type="clipArt" sz="quarter" idx="35" hasCustomPrompt="1"/>
          </p:nvPr>
        </p:nvSpPr>
        <p:spPr>
          <a:xfrm>
            <a:off x="5027552" y="2140206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13" name="Tijdelijke aanduiding voor illustratie 3"/>
          <p:cNvSpPr>
            <a:spLocks noGrp="1"/>
          </p:cNvSpPr>
          <p:nvPr>
            <p:ph type="clipArt" sz="quarter" idx="36" hasCustomPrompt="1"/>
          </p:nvPr>
        </p:nvSpPr>
        <p:spPr>
          <a:xfrm>
            <a:off x="4369266" y="1553569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14" name="Tijdelijke aanduiding voor illustratie 3"/>
          <p:cNvSpPr>
            <a:spLocks noGrp="1"/>
          </p:cNvSpPr>
          <p:nvPr>
            <p:ph type="clipArt" sz="quarter" idx="37" hasCustomPrompt="1"/>
          </p:nvPr>
        </p:nvSpPr>
        <p:spPr>
          <a:xfrm>
            <a:off x="3721263" y="853602"/>
            <a:ext cx="658284" cy="82945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21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6516216" y="2276873"/>
            <a:ext cx="2029158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grpSp>
        <p:nvGrpSpPr>
          <p:cNvPr id="32" name="Groeperen 31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33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5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4" name="Afbeelding 33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41" name="Tijdelijke aanduiding vo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6538630" y="2957665"/>
            <a:ext cx="2023805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49086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6516216" y="2276873"/>
            <a:ext cx="2029158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22" name="Tijdelijke aanduiding vo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6538630" y="2957665"/>
            <a:ext cx="2023805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817582" y="1749546"/>
            <a:ext cx="2386266" cy="610755"/>
          </a:xfrm>
          <a:prstGeom prst="rect">
            <a:avLst/>
          </a:prstGeom>
          <a:solidFill>
            <a:srgbClr val="70CAEB"/>
          </a:solidFill>
          <a:ln w="9525">
            <a:noFill/>
            <a:miter lim="800000"/>
            <a:headEnd/>
            <a:tailEnd/>
          </a:ln>
        </p:spPr>
        <p:txBody>
          <a:bodyPr wrap="square" lIns="45720" tIns="0" rIns="45720" bIns="68400" anchor="ctr" anchorCtr="0">
            <a:spAutoFit/>
          </a:bodyPr>
          <a:lstStyle>
            <a:lvl1pPr>
              <a:defRPr lang="nl-NL" sz="3200" kern="1200" cap="all" spc="-150" dirty="0" smtClean="0">
                <a:solidFill>
                  <a:srgbClr val="F8F8F8"/>
                </a:solidFill>
                <a:latin typeface="Alwyn Light"/>
                <a:ea typeface="Alwyn Light"/>
                <a:cs typeface="Alwyn Light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 defTabSz="1088205">
              <a:spcAft>
                <a:spcPct val="0"/>
              </a:spcAft>
            </a:pPr>
            <a:r>
              <a:rPr lang="nl-NL" dirty="0" smtClean="0"/>
              <a:t>subject</a:t>
            </a:r>
          </a:p>
        </p:txBody>
      </p:sp>
      <p:sp>
        <p:nvSpPr>
          <p:cNvPr id="46" name="Tijdelijke aanduiding voor tekst 3"/>
          <p:cNvSpPr>
            <a:spLocks noGrp="1"/>
          </p:cNvSpPr>
          <p:nvPr>
            <p:ph type="body" sz="quarter" idx="14" hasCustomPrompt="1"/>
          </p:nvPr>
        </p:nvSpPr>
        <p:spPr>
          <a:xfrm>
            <a:off x="817582" y="2629502"/>
            <a:ext cx="3538395" cy="610755"/>
          </a:xfrm>
          <a:prstGeom prst="rect">
            <a:avLst/>
          </a:prstGeom>
          <a:solidFill>
            <a:srgbClr val="F9907C"/>
          </a:solidFill>
          <a:ln w="9525">
            <a:noFill/>
            <a:miter lim="800000"/>
            <a:headEnd/>
            <a:tailEnd/>
          </a:ln>
        </p:spPr>
        <p:txBody>
          <a:bodyPr wrap="square" lIns="45720" tIns="0" rIns="45720" bIns="68400" anchor="ctr" anchorCtr="0">
            <a:spAutoFit/>
          </a:bodyPr>
          <a:lstStyle>
            <a:lvl1pPr>
              <a:defRPr lang="nl-NL" sz="3200" kern="1200" cap="all" spc="-150" dirty="0" smtClean="0">
                <a:solidFill>
                  <a:srgbClr val="F8F8F8"/>
                </a:solidFill>
                <a:latin typeface="Alwyn Light"/>
                <a:ea typeface="Alwyn Light"/>
                <a:cs typeface="Alwyn Light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 defTabSz="1088205">
              <a:spcAft>
                <a:spcPct val="0"/>
              </a:spcAft>
            </a:pPr>
            <a:r>
              <a:rPr lang="nl-NL" dirty="0" smtClean="0"/>
              <a:t>subject</a:t>
            </a:r>
          </a:p>
        </p:txBody>
      </p:sp>
      <p:sp>
        <p:nvSpPr>
          <p:cNvPr id="47" name="Tijdelijke aanduiding vo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7582" y="3509459"/>
            <a:ext cx="3250363" cy="610755"/>
          </a:xfrm>
          <a:prstGeom prst="rect">
            <a:avLst/>
          </a:prstGeom>
          <a:solidFill>
            <a:srgbClr val="A5999A"/>
          </a:solidFill>
          <a:ln w="9525">
            <a:noFill/>
            <a:miter lim="800000"/>
            <a:headEnd/>
            <a:tailEnd/>
          </a:ln>
        </p:spPr>
        <p:txBody>
          <a:bodyPr wrap="square" lIns="45720" tIns="0" rIns="45720" bIns="68400" anchor="ctr" anchorCtr="0">
            <a:spAutoFit/>
          </a:bodyPr>
          <a:lstStyle>
            <a:lvl1pPr>
              <a:defRPr lang="nl-NL" sz="3200" kern="1200" cap="all" spc="-150" dirty="0" smtClean="0">
                <a:solidFill>
                  <a:srgbClr val="F8F8F8"/>
                </a:solidFill>
                <a:latin typeface="Alwyn Light"/>
                <a:ea typeface="Alwyn Light"/>
                <a:cs typeface="Alwyn Light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 defTabSz="1088205">
              <a:spcAft>
                <a:spcPct val="0"/>
              </a:spcAft>
            </a:pPr>
            <a:r>
              <a:rPr lang="nl-NL" dirty="0" smtClean="0"/>
              <a:t>subject</a:t>
            </a:r>
          </a:p>
        </p:txBody>
      </p:sp>
      <p:sp>
        <p:nvSpPr>
          <p:cNvPr id="48" name="Tijdelijke aanduiding vo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582" y="4389417"/>
            <a:ext cx="4402491" cy="610755"/>
          </a:xfrm>
          <a:prstGeom prst="rect">
            <a:avLst/>
          </a:prstGeom>
          <a:solidFill>
            <a:srgbClr val="1E2D3F"/>
          </a:solidFill>
          <a:ln w="9525">
            <a:noFill/>
            <a:miter lim="800000"/>
            <a:headEnd/>
            <a:tailEnd/>
          </a:ln>
        </p:spPr>
        <p:txBody>
          <a:bodyPr wrap="square" lIns="45720" tIns="0" rIns="45720" bIns="68400" anchor="ctr" anchorCtr="0">
            <a:spAutoFit/>
          </a:bodyPr>
          <a:lstStyle>
            <a:lvl1pPr>
              <a:defRPr lang="nl-NL" sz="3200" kern="1200" cap="all" spc="-150" dirty="0" smtClean="0">
                <a:solidFill>
                  <a:srgbClr val="F8F8F8"/>
                </a:solidFill>
                <a:latin typeface="Alwyn Light"/>
                <a:ea typeface="Alwyn Light"/>
                <a:cs typeface="Alwyn Light"/>
              </a:defRPr>
            </a:lvl1pPr>
            <a:lvl2pPr>
              <a:defRPr lang="nl-NL" kern="1200" dirty="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dirty="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dirty="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dirty="0">
                <a:latin typeface="Arial" charset="0"/>
                <a:ea typeface="+mn-ea"/>
                <a:cs typeface="+mn-cs"/>
              </a:defRPr>
            </a:lvl5pPr>
          </a:lstStyle>
          <a:p>
            <a:pPr lvl="0" defTabSz="1088205">
              <a:spcAft>
                <a:spcPct val="0"/>
              </a:spcAft>
            </a:pPr>
            <a:r>
              <a:rPr lang="nl-NL" dirty="0" smtClean="0"/>
              <a:t>subject</a:t>
            </a:r>
          </a:p>
        </p:txBody>
      </p:sp>
      <p:grpSp>
        <p:nvGrpSpPr>
          <p:cNvPr id="15" name="Groeperen 14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6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8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7" name="Afbeelding 16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6671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circ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tekst 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3" name="Tijdelijke aanduiding voor tekst 1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62" name="Tijdelijke aanduiding voor tekst 4"/>
          <p:cNvSpPr>
            <a:spLocks noGrp="1"/>
          </p:cNvSpPr>
          <p:nvPr>
            <p:ph type="body" sz="quarter" idx="28" hasCustomPrompt="1"/>
          </p:nvPr>
        </p:nvSpPr>
        <p:spPr>
          <a:xfrm>
            <a:off x="6200725" y="2180861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63" name="Tijdelijke aanduiding voor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6200725" y="2468959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27" name="Tijdelijke aanduiding voor tekst 4"/>
          <p:cNvSpPr>
            <a:spLocks noGrp="1"/>
          </p:cNvSpPr>
          <p:nvPr>
            <p:ph type="body" sz="quarter" idx="30" hasCustomPrompt="1"/>
          </p:nvPr>
        </p:nvSpPr>
        <p:spPr>
          <a:xfrm>
            <a:off x="6200725" y="3387469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29" name="Tijdelijke aanduiding voor tekst 4"/>
          <p:cNvSpPr>
            <a:spLocks noGrp="1"/>
          </p:cNvSpPr>
          <p:nvPr>
            <p:ph type="body" sz="quarter" idx="31" hasCustomPrompt="1"/>
          </p:nvPr>
        </p:nvSpPr>
        <p:spPr>
          <a:xfrm>
            <a:off x="6200725" y="3675567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30" name="Tijdelijke aanduiding voor tekst 4"/>
          <p:cNvSpPr>
            <a:spLocks noGrp="1"/>
          </p:cNvSpPr>
          <p:nvPr>
            <p:ph type="body" sz="quarter" idx="32" hasCustomPrompt="1"/>
          </p:nvPr>
        </p:nvSpPr>
        <p:spPr>
          <a:xfrm>
            <a:off x="6200725" y="4554080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31" name="Tijdelijke aanduiding voor tekst 4"/>
          <p:cNvSpPr>
            <a:spLocks noGrp="1"/>
          </p:cNvSpPr>
          <p:nvPr>
            <p:ph type="body" sz="quarter" idx="33" hasCustomPrompt="1"/>
          </p:nvPr>
        </p:nvSpPr>
        <p:spPr>
          <a:xfrm>
            <a:off x="6200725" y="4842177"/>
            <a:ext cx="2318510" cy="384107"/>
          </a:xfrm>
          <a:prstGeom prst="rect">
            <a:avLst/>
          </a:prstGeom>
        </p:spPr>
        <p:txBody>
          <a:bodyPr vert="horz"/>
          <a:lstStyle>
            <a:lvl1pPr algn="l">
              <a:defRPr lang="nl-NL" sz="1600" b="0" kern="1200" dirty="0" smtClean="0">
                <a:solidFill>
                  <a:srgbClr val="6F014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grpSp>
        <p:nvGrpSpPr>
          <p:cNvPr id="17" name="Groeperen 16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8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8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9" name="Afbeelding 18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0502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41D225B0-3E0B-2549-934A-A1902FEB90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940000" cy="59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2000" y="3276000"/>
            <a:ext cx="5383349" cy="1076527"/>
          </a:xfrm>
        </p:spPr>
        <p:txBody>
          <a:bodyPr anchor="t" anchorCtr="0"/>
          <a:lstStyle>
            <a:lvl1pPr>
              <a:defRPr sz="3500"/>
            </a:lvl1pPr>
          </a:lstStyle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0" y="4721157"/>
            <a:ext cx="5383348" cy="1368494"/>
          </a:xfrm>
        </p:spPr>
        <p:txBody>
          <a:bodyPr/>
          <a:lstStyle>
            <a:lvl1pPr marL="0" indent="0">
              <a:lnSpc>
                <a:spcPts val="326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4BF0DCAB-5D7D-7E40-8D2C-977C64B451C7}"/>
              </a:ext>
            </a:extLst>
          </p:cNvPr>
          <p:cNvSpPr/>
          <p:nvPr userDrawn="1"/>
        </p:nvSpPr>
        <p:spPr>
          <a:xfrm>
            <a:off x="-1" y="6768000"/>
            <a:ext cx="2970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D27F8800-1C25-B848-963A-A41702B2FBBC}"/>
              </a:ext>
            </a:extLst>
          </p:cNvPr>
          <p:cNvSpPr/>
          <p:nvPr userDrawn="1"/>
        </p:nvSpPr>
        <p:spPr>
          <a:xfrm>
            <a:off x="2970000" y="6768000"/>
            <a:ext cx="6173999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A8B09E0-6CBC-2749-95BE-FD1C690743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800045" y="3249856"/>
            <a:ext cx="994913" cy="1102672"/>
          </a:xfrm>
        </p:spPr>
        <p:txBody>
          <a:bodyPr/>
          <a:lstStyle>
            <a:lvl1pPr marL="0" indent="0" algn="ctr">
              <a:lnSpc>
                <a:spcPts val="8800"/>
              </a:lnSpc>
              <a:buNone/>
              <a:defRPr sz="8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790932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1"/>
          <p:cNvSpPr/>
          <p:nvPr userDrawn="1"/>
        </p:nvSpPr>
        <p:spPr>
          <a:xfrm>
            <a:off x="0" y="0"/>
            <a:ext cx="9144000" cy="3530915"/>
          </a:xfrm>
          <a:prstGeom prst="rect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52" name="Tijdelijke aanduiding voor tekst 1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95288" y="134762"/>
            <a:ext cx="8569200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bg1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3" name="Tijdelijke aanduiding voor tekst 1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7701" y="815554"/>
            <a:ext cx="8569200" cy="4801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800" kern="1200" baseline="0" dirty="0">
                <a:solidFill>
                  <a:schemeClr val="bg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3" name="Oval 17"/>
          <p:cNvSpPr/>
          <p:nvPr/>
        </p:nvSpPr>
        <p:spPr>
          <a:xfrm>
            <a:off x="6900582" y="2464587"/>
            <a:ext cx="1447800" cy="1930400"/>
          </a:xfrm>
          <a:prstGeom prst="ellipse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4" name="Oval 18"/>
          <p:cNvSpPr/>
          <p:nvPr/>
        </p:nvSpPr>
        <p:spPr>
          <a:xfrm>
            <a:off x="6996394" y="2592336"/>
            <a:ext cx="1256179" cy="1674905"/>
          </a:xfrm>
          <a:prstGeom prst="ellipse">
            <a:avLst/>
          </a:prstGeom>
          <a:solidFill>
            <a:srgbClr val="6F0142"/>
          </a:solidFill>
          <a:ln w="28575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2" name="Oval 14"/>
          <p:cNvSpPr/>
          <p:nvPr/>
        </p:nvSpPr>
        <p:spPr>
          <a:xfrm>
            <a:off x="4919382" y="2464587"/>
            <a:ext cx="1447800" cy="1930400"/>
          </a:xfrm>
          <a:prstGeom prst="ellipse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4" name="Oval 15"/>
          <p:cNvSpPr/>
          <p:nvPr/>
        </p:nvSpPr>
        <p:spPr>
          <a:xfrm>
            <a:off x="5015194" y="2592336"/>
            <a:ext cx="1256179" cy="1674905"/>
          </a:xfrm>
          <a:prstGeom prst="ellipse">
            <a:avLst/>
          </a:prstGeom>
          <a:solidFill>
            <a:srgbClr val="6F0142"/>
          </a:solidFill>
          <a:ln w="28575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0" name="Oval 11"/>
          <p:cNvSpPr/>
          <p:nvPr/>
        </p:nvSpPr>
        <p:spPr>
          <a:xfrm>
            <a:off x="2853017" y="2464587"/>
            <a:ext cx="1447800" cy="1930400"/>
          </a:xfrm>
          <a:prstGeom prst="ellipse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1" name="Oval 12"/>
          <p:cNvSpPr/>
          <p:nvPr/>
        </p:nvSpPr>
        <p:spPr>
          <a:xfrm>
            <a:off x="2948829" y="2592336"/>
            <a:ext cx="1256179" cy="1674905"/>
          </a:xfrm>
          <a:prstGeom prst="ellipse">
            <a:avLst/>
          </a:prstGeom>
          <a:solidFill>
            <a:srgbClr val="6F0142"/>
          </a:solidFill>
          <a:ln w="28575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8" name="Oval 2"/>
          <p:cNvSpPr/>
          <p:nvPr/>
        </p:nvSpPr>
        <p:spPr>
          <a:xfrm>
            <a:off x="880782" y="2464587"/>
            <a:ext cx="1447800" cy="1930400"/>
          </a:xfrm>
          <a:prstGeom prst="ellipse">
            <a:avLst/>
          </a:prstGeom>
          <a:solidFill>
            <a:srgbClr val="6F0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9" name="Oval 8"/>
          <p:cNvSpPr/>
          <p:nvPr/>
        </p:nvSpPr>
        <p:spPr>
          <a:xfrm>
            <a:off x="976594" y="2592336"/>
            <a:ext cx="1256179" cy="1674905"/>
          </a:xfrm>
          <a:prstGeom prst="ellipse">
            <a:avLst/>
          </a:prstGeom>
          <a:solidFill>
            <a:schemeClr val="tx2"/>
          </a:solidFill>
          <a:ln w="28575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8" name="Tijdelijke aanduiding voor tekst 4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83568" y="464975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89" name="Tijdelijke aanduiding voor tekst 4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83568" y="506111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96" name="Tijdelijke aanduiding voor tekst 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93006" y="464975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97" name="Tijdelijke aanduiding voor tekst 4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693006" y="506111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98" name="Tijdelijke aanduiding voor tekst 4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774106" y="464975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99" name="Tijdelijke aanduiding voor tekst 4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774106" y="506111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100" name="Tijdelijke aanduiding voor tekst 4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753880" y="4649755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01" name="Tijdelijke aanduiding voor tekst 4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6753880" y="5061117"/>
            <a:ext cx="1806986" cy="384108"/>
          </a:xfrm>
          <a:prstGeom prst="rect">
            <a:avLst/>
          </a:prstGeom>
        </p:spPr>
        <p:txBody>
          <a:bodyPr vert="horz"/>
          <a:lstStyle>
            <a:lvl1pPr algn="ctr">
              <a:defRPr lang="nl-NL" sz="1600" b="0" kern="1200" dirty="0" smtClean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 smtClean="0"/>
              <a:t>subtitle</a:t>
            </a:r>
            <a:endParaRPr lang="nl-NL" dirty="0" smtClean="0"/>
          </a:p>
        </p:txBody>
      </p:sp>
      <p:sp>
        <p:nvSpPr>
          <p:cNvPr id="4" name="Tijdelijke aanduiding voor illustratie 3"/>
          <p:cNvSpPr>
            <a:spLocks noGrp="1"/>
          </p:cNvSpPr>
          <p:nvPr>
            <p:ph type="clipArt" sz="quarter" idx="24" hasCustomPrompt="1"/>
          </p:nvPr>
        </p:nvSpPr>
        <p:spPr>
          <a:xfrm>
            <a:off x="976594" y="2592336"/>
            <a:ext cx="1223963" cy="167490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02" name="Tijdelijke aanduiding voor illustratie 3"/>
          <p:cNvSpPr>
            <a:spLocks noGrp="1"/>
          </p:cNvSpPr>
          <p:nvPr>
            <p:ph type="clipArt" sz="quarter" idx="25" hasCustomPrompt="1"/>
          </p:nvPr>
        </p:nvSpPr>
        <p:spPr>
          <a:xfrm>
            <a:off x="2987495" y="2592336"/>
            <a:ext cx="1223963" cy="167490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03" name="Tijdelijke aanduiding voor illustratie 3"/>
          <p:cNvSpPr>
            <a:spLocks noGrp="1"/>
          </p:cNvSpPr>
          <p:nvPr>
            <p:ph type="clipArt" sz="quarter" idx="26" hasCustomPrompt="1"/>
          </p:nvPr>
        </p:nvSpPr>
        <p:spPr>
          <a:xfrm>
            <a:off x="5035751" y="2592336"/>
            <a:ext cx="1223963" cy="167490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sp>
        <p:nvSpPr>
          <p:cNvPr id="104" name="Tijdelijke aanduiding voor illustratie 3"/>
          <p:cNvSpPr>
            <a:spLocks noGrp="1"/>
          </p:cNvSpPr>
          <p:nvPr>
            <p:ph type="clipArt" sz="quarter" idx="27" hasCustomPrompt="1"/>
          </p:nvPr>
        </p:nvSpPr>
        <p:spPr>
          <a:xfrm>
            <a:off x="7020446" y="2592336"/>
            <a:ext cx="1223963" cy="1674904"/>
          </a:xfrm>
          <a:prstGeom prst="rect">
            <a:avLst/>
          </a:prstGeom>
        </p:spPr>
        <p:txBody>
          <a:bodyPr vert="horz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 smtClean="0"/>
              <a:t>Place</a:t>
            </a:r>
            <a:r>
              <a:rPr lang="nl-NL" dirty="0" smtClean="0"/>
              <a:t> icon</a:t>
            </a:r>
            <a:endParaRPr lang="nl-NL" dirty="0"/>
          </a:p>
        </p:txBody>
      </p:sp>
      <p:grpSp>
        <p:nvGrpSpPr>
          <p:cNvPr id="32" name="Groeperen 31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35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37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6" name="Afbeelding 35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1831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sta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6012160" y="2101755"/>
            <a:ext cx="2029158" cy="76835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>
              <a:defRPr lang="nl-NL" sz="3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err="1" smtClean="0"/>
              <a:t>title</a:t>
            </a:r>
            <a:endParaRPr lang="nl-NL" dirty="0"/>
          </a:p>
        </p:txBody>
      </p:sp>
      <p:grpSp>
        <p:nvGrpSpPr>
          <p:cNvPr id="11" name="Groeperen 10"/>
          <p:cNvGrpSpPr/>
          <p:nvPr userDrawn="1"/>
        </p:nvGrpSpPr>
        <p:grpSpPr>
          <a:xfrm>
            <a:off x="7092280" y="5885643"/>
            <a:ext cx="2057266" cy="984200"/>
            <a:chOff x="7092280" y="4414232"/>
            <a:chExt cx="2057266" cy="738150"/>
          </a:xfrm>
        </p:grpSpPr>
        <p:grpSp>
          <p:nvGrpSpPr>
            <p:cNvPr id="12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14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3" name="Afbeelding 12"/>
            <p:cNvPicPr>
              <a:picLocks noChangeAspect="1"/>
            </p:cNvPicPr>
            <p:nvPr userDrawn="1"/>
          </p:nvPicPr>
          <p:blipFill rotWithShape="1">
            <a:blip r:embed="rId2">
              <a:alphaModFix/>
            </a:blip>
            <a:srcRect b="15993"/>
            <a:stretch/>
          </p:blipFill>
          <p:spPr>
            <a:xfrm>
              <a:off x="7092280" y="4414232"/>
              <a:ext cx="1960187" cy="585525"/>
            </a:xfrm>
            <a:prstGeom prst="rect">
              <a:avLst/>
            </a:prstGeom>
          </p:spPr>
        </p:pic>
      </p:grpSp>
      <p:sp>
        <p:nvSpPr>
          <p:cNvPr id="18" name="Tijdelijke aanduiding vo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6538630" y="2957665"/>
            <a:ext cx="2023805" cy="4370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nl-NL" sz="1600" kern="1200" baseline="0" dirty="0">
                <a:solidFill>
                  <a:schemeClr val="accent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Sub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63225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eperen 25"/>
          <p:cNvGrpSpPr/>
          <p:nvPr userDrawn="1"/>
        </p:nvGrpSpPr>
        <p:grpSpPr>
          <a:xfrm>
            <a:off x="1907704" y="3455038"/>
            <a:ext cx="5394374" cy="137595"/>
            <a:chOff x="1841922" y="2808419"/>
            <a:chExt cx="5394374" cy="103196"/>
          </a:xfrm>
        </p:grpSpPr>
        <p:grpSp>
          <p:nvGrpSpPr>
            <p:cNvPr id="27" name="Groeperen 26"/>
            <p:cNvGrpSpPr/>
            <p:nvPr/>
          </p:nvGrpSpPr>
          <p:grpSpPr>
            <a:xfrm>
              <a:off x="3203848" y="2808419"/>
              <a:ext cx="4032448" cy="103196"/>
              <a:chOff x="2859732" y="1059582"/>
              <a:chExt cx="3414753" cy="103196"/>
            </a:xfrm>
          </p:grpSpPr>
          <p:sp>
            <p:nvSpPr>
              <p:cNvPr id="29" name="Rectangle 8"/>
              <p:cNvSpPr/>
              <p:nvPr/>
            </p:nvSpPr>
            <p:spPr>
              <a:xfrm>
                <a:off x="2859732" y="1059582"/>
                <a:ext cx="1091126" cy="103196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Rectangle 9"/>
              <p:cNvSpPr/>
              <p:nvPr/>
            </p:nvSpPr>
            <p:spPr>
              <a:xfrm>
                <a:off x="4015473" y="1059582"/>
                <a:ext cx="1091126" cy="103196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10"/>
              <p:cNvSpPr/>
              <p:nvPr/>
            </p:nvSpPr>
            <p:spPr>
              <a:xfrm>
                <a:off x="5183359" y="1059582"/>
                <a:ext cx="1091126" cy="103196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30000" noProof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7"/>
            <p:cNvSpPr/>
            <p:nvPr/>
          </p:nvSpPr>
          <p:spPr>
            <a:xfrm>
              <a:off x="1841922" y="2808419"/>
              <a:ext cx="1289919" cy="103196"/>
            </a:xfrm>
            <a:prstGeom prst="rect">
              <a:avLst/>
            </a:prstGeom>
            <a:solidFill>
              <a:srgbClr val="6F014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3000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2" name="Groeperen 31"/>
          <p:cNvGrpSpPr/>
          <p:nvPr userDrawn="1"/>
        </p:nvGrpSpPr>
        <p:grpSpPr>
          <a:xfrm>
            <a:off x="0" y="5061181"/>
            <a:ext cx="9144000" cy="1796819"/>
            <a:chOff x="0" y="3795886"/>
            <a:chExt cx="9144000" cy="1347614"/>
          </a:xfrm>
        </p:grpSpPr>
        <p:pic>
          <p:nvPicPr>
            <p:cNvPr id="33" name="Afbeelding 32" descr="PictoPatroon_pos_WHITE.png"/>
            <p:cNvPicPr>
              <a:picLocks noChangeAspect="1"/>
            </p:cNvPicPr>
            <p:nvPr/>
          </p:nvPicPr>
          <p:blipFill rotWithShape="1">
            <a:blip r:embed="rId2" cstate="print">
              <a:alphaModFix amt="15000"/>
              <a:duotone>
                <a:prstClr val="black"/>
                <a:srgbClr val="80808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22" r="30621" b="24489"/>
            <a:stretch/>
          </p:blipFill>
          <p:spPr>
            <a:xfrm>
              <a:off x="0" y="3795886"/>
              <a:ext cx="9144000" cy="1347614"/>
            </a:xfrm>
            <a:prstGeom prst="rect">
              <a:avLst/>
            </a:prstGeom>
          </p:spPr>
        </p:pic>
        <p:grpSp>
          <p:nvGrpSpPr>
            <p:cNvPr id="34" name="Groeperen 33"/>
            <p:cNvGrpSpPr/>
            <p:nvPr/>
          </p:nvGrpSpPr>
          <p:grpSpPr>
            <a:xfrm>
              <a:off x="2987824" y="4227934"/>
              <a:ext cx="3168352" cy="546180"/>
              <a:chOff x="2987824" y="4227934"/>
              <a:chExt cx="3168352" cy="546180"/>
            </a:xfrm>
          </p:grpSpPr>
          <p:sp>
            <p:nvSpPr>
              <p:cNvPr id="36" name="Rechthoek 35"/>
              <p:cNvSpPr/>
              <p:nvPr/>
            </p:nvSpPr>
            <p:spPr bwMode="auto">
              <a:xfrm>
                <a:off x="2987824" y="4227934"/>
                <a:ext cx="3168352" cy="432048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nl-NL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7" name="Rechthoek 36"/>
              <p:cNvSpPr/>
              <p:nvPr/>
            </p:nvSpPr>
            <p:spPr bwMode="auto">
              <a:xfrm>
                <a:off x="4058369" y="4371950"/>
                <a:ext cx="369615" cy="333478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nl-NL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8" name="Rechthoek 37"/>
              <p:cNvSpPr/>
              <p:nvPr/>
            </p:nvSpPr>
            <p:spPr bwMode="auto">
              <a:xfrm>
                <a:off x="5231253" y="4440636"/>
                <a:ext cx="369615" cy="333478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nl-NL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pic>
          <p:nvPicPr>
            <p:cNvPr id="35" name="Afbeelding 34"/>
            <p:cNvPicPr>
              <a:picLocks noChangeAspect="1"/>
            </p:cNvPicPr>
            <p:nvPr/>
          </p:nvPicPr>
          <p:blipFill rotWithShape="1">
            <a:blip r:embed="rId4"/>
            <a:srcRect b="30872"/>
            <a:stretch/>
          </p:blipFill>
          <p:spPr>
            <a:xfrm>
              <a:off x="3047592" y="4264662"/>
              <a:ext cx="3072910" cy="467328"/>
            </a:xfrm>
            <a:prstGeom prst="rect">
              <a:avLst/>
            </a:prstGeom>
          </p:spPr>
        </p:pic>
      </p:grpSp>
      <p:sp>
        <p:nvSpPr>
          <p:cNvPr id="39" name="Tijdelijke aanduiding voor tekst 12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1892829"/>
            <a:ext cx="9143998" cy="172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lvl1pPr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  <a:defRPr lang="nl-NL" sz="4000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cap="all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cap="all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cap="all" smtClean="0">
                <a:latin typeface="Arial" charset="0"/>
                <a:ea typeface="+mn-ea"/>
                <a:cs typeface="+mn-cs"/>
              </a:defRPr>
            </a:lvl4pPr>
            <a:lvl5pPr>
              <a:defRPr lang="nl-NL" kern="1200" cap="all">
                <a:latin typeface="Arial" charset="0"/>
                <a:ea typeface="+mn-ea"/>
                <a:cs typeface="+mn-cs"/>
              </a:defRPr>
            </a:lvl5pPr>
          </a:lstStyle>
          <a:p>
            <a:pPr lvl="0" algn="ctr">
              <a:lnSpc>
                <a:spcPct val="115000"/>
              </a:lnSpc>
              <a:spcBef>
                <a:spcPts val="0"/>
              </a:spcBef>
              <a:spcAft>
                <a:spcPct val="0"/>
              </a:spcAft>
              <a:buNone/>
            </a:pPr>
            <a:r>
              <a:rPr lang="nl-NL" dirty="0" err="1" smtClean="0"/>
              <a:t>Place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634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ars lee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91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155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9" y="134763"/>
            <a:ext cx="8495824" cy="768351"/>
          </a:xfrm>
          <a:prstGeom prst="rect">
            <a:avLst/>
          </a:prstGeom>
          <a:noFill/>
          <a:ln>
            <a:noFill/>
          </a:ln>
        </p:spPr>
        <p:txBody>
          <a:bodyPr lIns="107269" tIns="107269" rIns="107269" bIns="107269" anchor="t" anchorCtr="0">
            <a:noAutofit/>
          </a:bodyPr>
          <a:lstStyle>
            <a:lvl1pPr>
              <a:defRPr lang="nl-NL" sz="2625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smtClean="0"/>
              <a:t>Titel	</a:t>
            </a:r>
            <a:endParaRPr lang="nl-NL" dirty="0"/>
          </a:p>
        </p:txBody>
      </p:sp>
      <p:sp>
        <p:nvSpPr>
          <p:cNvPr id="13" name="Tijdelijke aanduiding vo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19223" y="1508789"/>
            <a:ext cx="8471891" cy="366866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200" kern="1200" baseline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e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endParaRPr lang="nl-NL" dirty="0"/>
          </a:p>
        </p:txBody>
      </p:sp>
      <p:sp>
        <p:nvSpPr>
          <p:cNvPr id="14" name="Tijdelijke aanduiding voor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9223" y="1966166"/>
            <a:ext cx="8471891" cy="1400995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200" kern="1200" baseline="0" smtClean="0">
                <a:solidFill>
                  <a:schemeClr val="tx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commodo </a:t>
            </a:r>
            <a:r>
              <a:rPr lang="nl-NL" dirty="0" err="1" smtClean="0"/>
              <a:t>ligula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massa. Cum </a:t>
            </a:r>
            <a:r>
              <a:rPr lang="nl-NL" dirty="0" err="1" smtClean="0"/>
              <a:t>sociis</a:t>
            </a:r>
            <a:r>
              <a:rPr lang="nl-NL" dirty="0" smtClean="0"/>
              <a:t> </a:t>
            </a:r>
            <a:r>
              <a:rPr lang="nl-NL" dirty="0" err="1" smtClean="0"/>
              <a:t>natoque</a:t>
            </a:r>
            <a:r>
              <a:rPr lang="nl-NL" dirty="0" smtClean="0"/>
              <a:t> </a:t>
            </a:r>
            <a:r>
              <a:rPr lang="nl-NL" dirty="0" err="1" smtClean="0"/>
              <a:t>penatibus</a:t>
            </a:r>
            <a:r>
              <a:rPr lang="nl-NL" dirty="0" smtClean="0"/>
              <a:t> et </a:t>
            </a:r>
            <a:r>
              <a:rPr lang="nl-NL" dirty="0" err="1" smtClean="0"/>
              <a:t>magnis</a:t>
            </a:r>
            <a:r>
              <a:rPr lang="nl-NL" dirty="0" smtClean="0"/>
              <a:t> dis </a:t>
            </a:r>
            <a:r>
              <a:rPr lang="nl-NL" dirty="0" err="1" smtClean="0"/>
              <a:t>parturient</a:t>
            </a:r>
            <a:r>
              <a:rPr lang="nl-NL" dirty="0" smtClean="0"/>
              <a:t> </a:t>
            </a:r>
            <a:r>
              <a:rPr lang="nl-NL" dirty="0" err="1" smtClean="0"/>
              <a:t>montes</a:t>
            </a:r>
            <a:r>
              <a:rPr lang="nl-NL" dirty="0" smtClean="0"/>
              <a:t>, </a:t>
            </a:r>
            <a:r>
              <a:rPr lang="nl-NL" dirty="0" err="1" smtClean="0"/>
              <a:t>nascetur</a:t>
            </a:r>
            <a:r>
              <a:rPr lang="nl-NL" dirty="0" smtClean="0"/>
              <a:t> </a:t>
            </a:r>
            <a:r>
              <a:rPr lang="nl-NL" dirty="0" err="1" smtClean="0"/>
              <a:t>ridiculus</a:t>
            </a:r>
            <a:r>
              <a:rPr lang="nl-NL" dirty="0" smtClean="0"/>
              <a:t> mus. </a:t>
            </a: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quam</a:t>
            </a:r>
            <a:r>
              <a:rPr lang="nl-NL" dirty="0" smtClean="0"/>
              <a:t> </a:t>
            </a:r>
            <a:r>
              <a:rPr lang="nl-NL" dirty="0" err="1" smtClean="0"/>
              <a:t>felis</a:t>
            </a:r>
            <a:r>
              <a:rPr lang="nl-NL" dirty="0" smtClean="0"/>
              <a:t>,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pellentesque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pretium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</a:t>
            </a:r>
            <a:r>
              <a:rPr lang="nl-NL" dirty="0" err="1" smtClean="0"/>
              <a:t>sem</a:t>
            </a:r>
            <a:r>
              <a:rPr lang="nl-NL" dirty="0" smtClean="0"/>
              <a:t>. </a:t>
            </a: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consequat</a:t>
            </a:r>
            <a:r>
              <a:rPr lang="nl-NL" dirty="0" smtClean="0"/>
              <a:t> massa </a:t>
            </a:r>
            <a:r>
              <a:rPr lang="nl-NL" dirty="0" err="1" smtClean="0"/>
              <a:t>quis</a:t>
            </a:r>
            <a:r>
              <a:rPr lang="nl-NL" dirty="0" smtClean="0"/>
              <a:t>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Donec</a:t>
            </a:r>
            <a:r>
              <a:rPr lang="nl-NL" dirty="0" smtClean="0"/>
              <a:t> pede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fringilla</a:t>
            </a:r>
            <a:r>
              <a:rPr lang="nl-NL" dirty="0" smtClean="0"/>
              <a:t> vel, </a:t>
            </a:r>
            <a:r>
              <a:rPr lang="nl-NL" dirty="0" err="1" smtClean="0"/>
              <a:t>aliquet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, </a:t>
            </a:r>
            <a:r>
              <a:rPr lang="nl-NL" dirty="0" err="1" smtClean="0"/>
              <a:t>arcu</a:t>
            </a:r>
            <a:r>
              <a:rPr lang="nl-NL" dirty="0" smtClean="0"/>
              <a:t>. In </a:t>
            </a:r>
            <a:r>
              <a:rPr lang="nl-NL" dirty="0" err="1" smtClean="0"/>
              <a:t>enim</a:t>
            </a:r>
            <a:r>
              <a:rPr lang="nl-NL" dirty="0" smtClean="0"/>
              <a:t>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rhoncus</a:t>
            </a:r>
            <a:r>
              <a:rPr lang="nl-NL" dirty="0" smtClean="0"/>
              <a:t> ut, </a:t>
            </a:r>
            <a:r>
              <a:rPr lang="nl-NL" dirty="0" err="1" smtClean="0"/>
              <a:t>imperdiet</a:t>
            </a:r>
            <a:r>
              <a:rPr lang="nl-NL" dirty="0" smtClean="0"/>
              <a:t> a, </a:t>
            </a:r>
            <a:r>
              <a:rPr lang="nl-NL" dirty="0" err="1" smtClean="0"/>
              <a:t>venenatis</a:t>
            </a:r>
            <a:r>
              <a:rPr lang="nl-NL" dirty="0" smtClean="0"/>
              <a:t> vitae, </a:t>
            </a:r>
            <a:r>
              <a:rPr lang="nl-NL" dirty="0" err="1" smtClean="0"/>
              <a:t>justo</a:t>
            </a:r>
            <a:r>
              <a:rPr lang="nl-NL" dirty="0" smtClean="0"/>
              <a:t>. </a:t>
            </a:r>
            <a:r>
              <a:rPr lang="nl-NL" dirty="0" err="1" smtClean="0"/>
              <a:t>Nullam</a:t>
            </a:r>
            <a:r>
              <a:rPr lang="nl-NL" dirty="0" smtClean="0"/>
              <a:t> dictum </a:t>
            </a:r>
            <a:r>
              <a:rPr lang="nl-NL" dirty="0" err="1" smtClean="0"/>
              <a:t>felis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 pede </a:t>
            </a:r>
            <a:r>
              <a:rPr lang="nl-NL" dirty="0" err="1" smtClean="0"/>
              <a:t>mollis</a:t>
            </a:r>
            <a:r>
              <a:rPr lang="nl-NL" dirty="0" smtClean="0"/>
              <a:t> </a:t>
            </a:r>
            <a:r>
              <a:rPr lang="nl-NL" dirty="0" err="1" smtClean="0"/>
              <a:t>pretium</a:t>
            </a:r>
            <a:r>
              <a:rPr lang="nl-NL" dirty="0" smtClean="0"/>
              <a:t>. Integer </a:t>
            </a:r>
            <a:r>
              <a:rPr lang="nl-NL" dirty="0" err="1" smtClean="0"/>
              <a:t>tincidunt</a:t>
            </a:r>
            <a:r>
              <a:rPr lang="nl-NL" dirty="0" smtClean="0"/>
              <a:t>. </a:t>
            </a:r>
            <a:r>
              <a:rPr lang="nl-NL" dirty="0" err="1" smtClean="0"/>
              <a:t>Cras</a:t>
            </a:r>
            <a:r>
              <a:rPr lang="nl-NL" dirty="0" smtClean="0"/>
              <a:t> </a:t>
            </a:r>
            <a:r>
              <a:rPr lang="nl-NL" dirty="0" err="1" smtClean="0"/>
              <a:t>dapibus</a:t>
            </a:r>
            <a:r>
              <a:rPr lang="nl-NL" dirty="0" smtClean="0"/>
              <a:t>. </a:t>
            </a:r>
            <a:r>
              <a:rPr lang="nl-NL" dirty="0" err="1" smtClean="0"/>
              <a:t>Vivamus</a:t>
            </a:r>
            <a:r>
              <a:rPr lang="nl-NL" dirty="0" smtClean="0"/>
              <a:t> </a:t>
            </a:r>
            <a:r>
              <a:rPr lang="nl-NL" dirty="0" err="1" smtClean="0"/>
              <a:t>elementum</a:t>
            </a:r>
            <a:r>
              <a:rPr lang="nl-NL" dirty="0" smtClean="0"/>
              <a:t> semper </a:t>
            </a:r>
            <a:r>
              <a:rPr lang="nl-NL" dirty="0" err="1" smtClean="0"/>
              <a:t>nisi</a:t>
            </a:r>
            <a:r>
              <a:rPr lang="nl-NL" dirty="0" smtClean="0"/>
              <a:t>. Nam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ui.</a:t>
            </a:r>
            <a:endParaRPr lang="nl-NL" dirty="0"/>
          </a:p>
        </p:txBody>
      </p:sp>
      <p:grpSp>
        <p:nvGrpSpPr>
          <p:cNvPr id="23" name="Groeperen 22"/>
          <p:cNvGrpSpPr/>
          <p:nvPr userDrawn="1"/>
        </p:nvGrpSpPr>
        <p:grpSpPr>
          <a:xfrm>
            <a:off x="6784711" y="5794531"/>
            <a:ext cx="2364837" cy="1075312"/>
            <a:chOff x="6784709" y="4345898"/>
            <a:chExt cx="2364837" cy="806484"/>
          </a:xfrm>
        </p:grpSpPr>
        <p:grpSp>
          <p:nvGrpSpPr>
            <p:cNvPr id="2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</p:grpSp>
        <p:pic>
          <p:nvPicPr>
            <p:cNvPr id="25" name="Picture 51" descr="Logo StAntonius_r&amp;d_RGB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86"/>
            <a:stretch/>
          </p:blipFill>
          <p:spPr bwMode="auto">
            <a:xfrm>
              <a:off x="6784709" y="4345898"/>
              <a:ext cx="2359291" cy="7057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7"/>
            <a:ext cx="8569200" cy="447657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575" kern="1200" baseline="0" dirty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smtClean="0"/>
              <a:t>Sub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9561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+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tekst 10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9" y="134763"/>
            <a:ext cx="8495824" cy="768351"/>
          </a:xfrm>
          <a:prstGeom prst="rect">
            <a:avLst/>
          </a:prstGeom>
          <a:noFill/>
          <a:ln>
            <a:noFill/>
          </a:ln>
        </p:spPr>
        <p:txBody>
          <a:bodyPr lIns="107269" tIns="107269" rIns="107269" bIns="107269" anchor="t" anchorCtr="0">
            <a:noAutofit/>
          </a:bodyPr>
          <a:lstStyle>
            <a:lvl1pPr>
              <a:defRPr lang="nl-NL" sz="2625" kern="1200" cap="all" smtClean="0">
                <a:solidFill>
                  <a:schemeClr val="tx2"/>
                </a:solidFill>
                <a:latin typeface="Alwyn"/>
                <a:ea typeface="Alwyn Light"/>
                <a:cs typeface="Alwyn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15000"/>
              </a:lnSpc>
              <a:spcBef>
                <a:spcPts val="0"/>
              </a:spcBef>
              <a:spcAft>
                <a:spcPct val="0"/>
              </a:spcAft>
            </a:pPr>
            <a:r>
              <a:rPr lang="nl-NL" dirty="0" smtClean="0"/>
              <a:t>Titel	</a:t>
            </a:r>
            <a:endParaRPr lang="nl-NL" dirty="0"/>
          </a:p>
        </p:txBody>
      </p:sp>
      <p:sp>
        <p:nvSpPr>
          <p:cNvPr id="13" name="Tijdelijke aanduiding vo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19223" y="1508789"/>
            <a:ext cx="8471891" cy="366866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200" kern="1200" baseline="0" smtClean="0">
                <a:solidFill>
                  <a:schemeClr val="tx2"/>
                </a:solidFill>
                <a:latin typeface="Alwyn Bold"/>
                <a:ea typeface="Alwyn"/>
                <a:cs typeface="Alwyn Bold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Lorem</a:t>
            </a:r>
            <a:r>
              <a:rPr lang="nl-NL" dirty="0" smtClean="0"/>
              <a:t> </a:t>
            </a:r>
            <a:r>
              <a:rPr lang="nl-NL" dirty="0" err="1" smtClean="0"/>
              <a:t>ipsum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 </a:t>
            </a:r>
            <a:r>
              <a:rPr lang="nl-NL" dirty="0" err="1" smtClean="0"/>
              <a:t>sit</a:t>
            </a:r>
            <a:r>
              <a:rPr lang="nl-NL" dirty="0" smtClean="0"/>
              <a:t> </a:t>
            </a:r>
            <a:r>
              <a:rPr lang="nl-NL" dirty="0" err="1" smtClean="0"/>
              <a:t>amet</a:t>
            </a:r>
            <a:r>
              <a:rPr lang="nl-NL" dirty="0" smtClean="0"/>
              <a:t>, </a:t>
            </a:r>
            <a:r>
              <a:rPr lang="nl-NL" dirty="0" err="1" smtClean="0"/>
              <a:t>consectetuer</a:t>
            </a:r>
            <a:r>
              <a:rPr lang="nl-NL" dirty="0" smtClean="0"/>
              <a:t> </a:t>
            </a:r>
            <a:r>
              <a:rPr lang="nl-NL" dirty="0" err="1" smtClean="0"/>
              <a:t>adipiscing</a:t>
            </a:r>
            <a:r>
              <a:rPr lang="nl-NL" dirty="0" smtClean="0"/>
              <a:t> </a:t>
            </a:r>
            <a:r>
              <a:rPr lang="nl-NL" dirty="0" err="1" smtClean="0"/>
              <a:t>elit</a:t>
            </a:r>
            <a:r>
              <a:rPr lang="nl-NL" dirty="0" smtClean="0"/>
              <a:t>. </a:t>
            </a:r>
            <a:endParaRPr lang="nl-NL" dirty="0"/>
          </a:p>
        </p:txBody>
      </p:sp>
      <p:sp>
        <p:nvSpPr>
          <p:cNvPr id="14" name="Tijdelijke aanduiding voor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19223" y="1966166"/>
            <a:ext cx="8471891" cy="1400995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200" kern="1200" baseline="0" smtClean="0">
                <a:solidFill>
                  <a:schemeClr val="tx1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  <a:lvl2pPr>
              <a:defRPr lang="nl-NL" kern="1200" smtClean="0">
                <a:latin typeface="Arial" charset="0"/>
                <a:ea typeface="+mn-ea"/>
                <a:cs typeface="+mn-cs"/>
              </a:defRPr>
            </a:lvl2pPr>
            <a:lvl3pPr>
              <a:defRPr lang="nl-NL" kern="1200" smtClean="0">
                <a:latin typeface="Arial" charset="0"/>
                <a:ea typeface="+mn-ea"/>
                <a:cs typeface="+mn-cs"/>
              </a:defRPr>
            </a:lvl3pPr>
            <a:lvl4pPr>
              <a:defRPr lang="nl-NL" kern="1200" smtClean="0">
                <a:latin typeface="Arial" charset="0"/>
                <a:ea typeface="+mn-ea"/>
                <a:cs typeface="+mn-cs"/>
              </a:defRPr>
            </a:lvl4pPr>
            <a:lvl5pPr>
              <a:defRPr lang="nl-NL" kern="1200">
                <a:latin typeface="Arial" charset="0"/>
                <a:ea typeface="+mn-ea"/>
                <a:cs typeface="+mn-cs"/>
              </a:defRPr>
            </a:lvl5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err="1" smtClean="0"/>
              <a:t>Aenean</a:t>
            </a:r>
            <a:r>
              <a:rPr lang="nl-NL" dirty="0" smtClean="0"/>
              <a:t> commodo </a:t>
            </a:r>
            <a:r>
              <a:rPr lang="nl-NL" dirty="0" err="1" smtClean="0"/>
              <a:t>ligula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olor</a:t>
            </a:r>
            <a:r>
              <a:rPr lang="nl-NL" dirty="0" smtClean="0"/>
              <a:t>. </a:t>
            </a:r>
            <a:r>
              <a:rPr lang="nl-NL" dirty="0" err="1" smtClean="0"/>
              <a:t>Aenean</a:t>
            </a:r>
            <a:r>
              <a:rPr lang="nl-NL" dirty="0" smtClean="0"/>
              <a:t> massa. Cum </a:t>
            </a:r>
            <a:r>
              <a:rPr lang="nl-NL" dirty="0" err="1" smtClean="0"/>
              <a:t>sociis</a:t>
            </a:r>
            <a:r>
              <a:rPr lang="nl-NL" dirty="0" smtClean="0"/>
              <a:t> </a:t>
            </a:r>
            <a:r>
              <a:rPr lang="nl-NL" dirty="0" err="1" smtClean="0"/>
              <a:t>natoque</a:t>
            </a:r>
            <a:r>
              <a:rPr lang="nl-NL" dirty="0" smtClean="0"/>
              <a:t> </a:t>
            </a:r>
            <a:r>
              <a:rPr lang="nl-NL" dirty="0" err="1" smtClean="0"/>
              <a:t>penatibus</a:t>
            </a:r>
            <a:r>
              <a:rPr lang="nl-NL" dirty="0" smtClean="0"/>
              <a:t> et </a:t>
            </a:r>
            <a:r>
              <a:rPr lang="nl-NL" dirty="0" err="1" smtClean="0"/>
              <a:t>magnis</a:t>
            </a:r>
            <a:r>
              <a:rPr lang="nl-NL" dirty="0" smtClean="0"/>
              <a:t> dis </a:t>
            </a:r>
            <a:r>
              <a:rPr lang="nl-NL" dirty="0" err="1" smtClean="0"/>
              <a:t>parturient</a:t>
            </a:r>
            <a:r>
              <a:rPr lang="nl-NL" dirty="0" smtClean="0"/>
              <a:t> </a:t>
            </a:r>
            <a:r>
              <a:rPr lang="nl-NL" dirty="0" err="1" smtClean="0"/>
              <a:t>montes</a:t>
            </a:r>
            <a:r>
              <a:rPr lang="nl-NL" dirty="0" smtClean="0"/>
              <a:t>, </a:t>
            </a:r>
            <a:r>
              <a:rPr lang="nl-NL" dirty="0" err="1" smtClean="0"/>
              <a:t>nascetur</a:t>
            </a:r>
            <a:r>
              <a:rPr lang="nl-NL" dirty="0" smtClean="0"/>
              <a:t> </a:t>
            </a:r>
            <a:r>
              <a:rPr lang="nl-NL" dirty="0" err="1" smtClean="0"/>
              <a:t>ridiculus</a:t>
            </a:r>
            <a:r>
              <a:rPr lang="nl-NL" dirty="0" smtClean="0"/>
              <a:t> mus. </a:t>
            </a:r>
            <a:r>
              <a:rPr lang="nl-NL" dirty="0" err="1" smtClean="0"/>
              <a:t>Donec</a:t>
            </a:r>
            <a:r>
              <a:rPr lang="nl-NL" dirty="0" smtClean="0"/>
              <a:t> </a:t>
            </a:r>
            <a:r>
              <a:rPr lang="nl-NL" dirty="0" err="1" smtClean="0"/>
              <a:t>quam</a:t>
            </a:r>
            <a:r>
              <a:rPr lang="nl-NL" dirty="0" smtClean="0"/>
              <a:t> </a:t>
            </a:r>
            <a:r>
              <a:rPr lang="nl-NL" dirty="0" err="1" smtClean="0"/>
              <a:t>felis</a:t>
            </a:r>
            <a:r>
              <a:rPr lang="nl-NL" dirty="0" smtClean="0"/>
              <a:t>, </a:t>
            </a:r>
            <a:r>
              <a:rPr lang="nl-NL" dirty="0" err="1" smtClean="0"/>
              <a:t>ultricies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pellentesque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, </a:t>
            </a:r>
            <a:r>
              <a:rPr lang="nl-NL" dirty="0" err="1" smtClean="0"/>
              <a:t>pretium</a:t>
            </a:r>
            <a:r>
              <a:rPr lang="nl-NL" dirty="0" smtClean="0"/>
              <a:t> </a:t>
            </a:r>
            <a:r>
              <a:rPr lang="nl-NL" dirty="0" err="1" smtClean="0"/>
              <a:t>quis</a:t>
            </a:r>
            <a:r>
              <a:rPr lang="nl-NL" dirty="0" smtClean="0"/>
              <a:t>, </a:t>
            </a:r>
            <a:r>
              <a:rPr lang="nl-NL" dirty="0" err="1" smtClean="0"/>
              <a:t>sem</a:t>
            </a:r>
            <a:r>
              <a:rPr lang="nl-NL" dirty="0" smtClean="0"/>
              <a:t>. </a:t>
            </a:r>
            <a:r>
              <a:rPr lang="nl-NL" dirty="0" err="1" smtClean="0"/>
              <a:t>Nulla</a:t>
            </a:r>
            <a:r>
              <a:rPr lang="nl-NL" dirty="0" smtClean="0"/>
              <a:t> </a:t>
            </a:r>
            <a:r>
              <a:rPr lang="nl-NL" dirty="0" err="1" smtClean="0"/>
              <a:t>consequat</a:t>
            </a:r>
            <a:r>
              <a:rPr lang="nl-NL" dirty="0" smtClean="0"/>
              <a:t> massa </a:t>
            </a:r>
            <a:r>
              <a:rPr lang="nl-NL" dirty="0" err="1" smtClean="0"/>
              <a:t>quis</a:t>
            </a:r>
            <a:r>
              <a:rPr lang="nl-NL" dirty="0" smtClean="0"/>
              <a:t> </a:t>
            </a:r>
            <a:r>
              <a:rPr lang="nl-NL" dirty="0" err="1" smtClean="0"/>
              <a:t>enim</a:t>
            </a:r>
            <a:r>
              <a:rPr lang="nl-NL" dirty="0" smtClean="0"/>
              <a:t>. </a:t>
            </a:r>
            <a:r>
              <a:rPr lang="nl-NL" dirty="0" err="1" smtClean="0"/>
              <a:t>Donec</a:t>
            </a:r>
            <a:r>
              <a:rPr lang="nl-NL" dirty="0" smtClean="0"/>
              <a:t> pede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fringilla</a:t>
            </a:r>
            <a:r>
              <a:rPr lang="nl-NL" dirty="0" smtClean="0"/>
              <a:t> vel, </a:t>
            </a:r>
            <a:r>
              <a:rPr lang="nl-NL" dirty="0" err="1" smtClean="0"/>
              <a:t>aliquet</a:t>
            </a:r>
            <a:r>
              <a:rPr lang="nl-NL" dirty="0" smtClean="0"/>
              <a:t> </a:t>
            </a:r>
            <a:r>
              <a:rPr lang="nl-NL" dirty="0" err="1" smtClean="0"/>
              <a:t>nec</a:t>
            </a:r>
            <a:r>
              <a:rPr lang="nl-NL" dirty="0" smtClean="0"/>
              <a:t>, </a:t>
            </a:r>
            <a:r>
              <a:rPr lang="nl-NL" dirty="0" err="1" smtClean="0"/>
              <a:t>vulputate</a:t>
            </a:r>
            <a:r>
              <a:rPr lang="nl-NL" dirty="0" smtClean="0"/>
              <a:t> </a:t>
            </a:r>
            <a:r>
              <a:rPr lang="nl-NL" dirty="0" err="1" smtClean="0"/>
              <a:t>eget</a:t>
            </a:r>
            <a:r>
              <a:rPr lang="nl-NL" dirty="0" smtClean="0"/>
              <a:t>, </a:t>
            </a:r>
            <a:r>
              <a:rPr lang="nl-NL" dirty="0" err="1" smtClean="0"/>
              <a:t>arcu</a:t>
            </a:r>
            <a:r>
              <a:rPr lang="nl-NL" dirty="0" smtClean="0"/>
              <a:t>. In </a:t>
            </a:r>
            <a:r>
              <a:rPr lang="nl-NL" dirty="0" err="1" smtClean="0"/>
              <a:t>enim</a:t>
            </a:r>
            <a:r>
              <a:rPr lang="nl-NL" dirty="0" smtClean="0"/>
              <a:t> </a:t>
            </a:r>
            <a:r>
              <a:rPr lang="nl-NL" dirty="0" err="1" smtClean="0"/>
              <a:t>justo</a:t>
            </a:r>
            <a:r>
              <a:rPr lang="nl-NL" dirty="0" smtClean="0"/>
              <a:t>, </a:t>
            </a:r>
            <a:r>
              <a:rPr lang="nl-NL" dirty="0" err="1" smtClean="0"/>
              <a:t>rhoncus</a:t>
            </a:r>
            <a:r>
              <a:rPr lang="nl-NL" dirty="0" smtClean="0"/>
              <a:t> ut, </a:t>
            </a:r>
            <a:r>
              <a:rPr lang="nl-NL" dirty="0" err="1" smtClean="0"/>
              <a:t>imperdiet</a:t>
            </a:r>
            <a:r>
              <a:rPr lang="nl-NL" dirty="0" smtClean="0"/>
              <a:t> a, </a:t>
            </a:r>
            <a:r>
              <a:rPr lang="nl-NL" dirty="0" err="1" smtClean="0"/>
              <a:t>venenatis</a:t>
            </a:r>
            <a:r>
              <a:rPr lang="nl-NL" dirty="0" smtClean="0"/>
              <a:t> vitae, </a:t>
            </a:r>
            <a:r>
              <a:rPr lang="nl-NL" dirty="0" err="1" smtClean="0"/>
              <a:t>justo</a:t>
            </a:r>
            <a:r>
              <a:rPr lang="nl-NL" dirty="0" smtClean="0"/>
              <a:t>. </a:t>
            </a:r>
            <a:r>
              <a:rPr lang="nl-NL" dirty="0" err="1" smtClean="0"/>
              <a:t>Nullam</a:t>
            </a:r>
            <a:r>
              <a:rPr lang="nl-NL" dirty="0" smtClean="0"/>
              <a:t> dictum </a:t>
            </a:r>
            <a:r>
              <a:rPr lang="nl-NL" dirty="0" err="1" smtClean="0"/>
              <a:t>felis</a:t>
            </a:r>
            <a:r>
              <a:rPr lang="nl-NL" dirty="0" smtClean="0"/>
              <a:t> </a:t>
            </a:r>
            <a:r>
              <a:rPr lang="nl-NL" dirty="0" err="1" smtClean="0"/>
              <a:t>eu</a:t>
            </a:r>
            <a:r>
              <a:rPr lang="nl-NL" dirty="0" smtClean="0"/>
              <a:t> pede </a:t>
            </a:r>
            <a:r>
              <a:rPr lang="nl-NL" dirty="0" err="1" smtClean="0"/>
              <a:t>mollis</a:t>
            </a:r>
            <a:r>
              <a:rPr lang="nl-NL" dirty="0" smtClean="0"/>
              <a:t> </a:t>
            </a:r>
            <a:r>
              <a:rPr lang="nl-NL" dirty="0" err="1" smtClean="0"/>
              <a:t>pretium</a:t>
            </a:r>
            <a:r>
              <a:rPr lang="nl-NL" dirty="0" smtClean="0"/>
              <a:t>. Integer </a:t>
            </a:r>
            <a:r>
              <a:rPr lang="nl-NL" dirty="0" err="1" smtClean="0"/>
              <a:t>tincidunt</a:t>
            </a:r>
            <a:r>
              <a:rPr lang="nl-NL" dirty="0" smtClean="0"/>
              <a:t>. </a:t>
            </a:r>
            <a:r>
              <a:rPr lang="nl-NL" dirty="0" err="1" smtClean="0"/>
              <a:t>Cras</a:t>
            </a:r>
            <a:r>
              <a:rPr lang="nl-NL" dirty="0" smtClean="0"/>
              <a:t> </a:t>
            </a:r>
            <a:r>
              <a:rPr lang="nl-NL" dirty="0" err="1" smtClean="0"/>
              <a:t>dapibus</a:t>
            </a:r>
            <a:r>
              <a:rPr lang="nl-NL" dirty="0" smtClean="0"/>
              <a:t>. </a:t>
            </a:r>
            <a:r>
              <a:rPr lang="nl-NL" dirty="0" err="1" smtClean="0"/>
              <a:t>Vivamus</a:t>
            </a:r>
            <a:r>
              <a:rPr lang="nl-NL" dirty="0" smtClean="0"/>
              <a:t> </a:t>
            </a:r>
            <a:r>
              <a:rPr lang="nl-NL" dirty="0" err="1" smtClean="0"/>
              <a:t>elementum</a:t>
            </a:r>
            <a:r>
              <a:rPr lang="nl-NL" dirty="0" smtClean="0"/>
              <a:t> semper </a:t>
            </a:r>
            <a:r>
              <a:rPr lang="nl-NL" dirty="0" err="1" smtClean="0"/>
              <a:t>nisi</a:t>
            </a:r>
            <a:r>
              <a:rPr lang="nl-NL" dirty="0" smtClean="0"/>
              <a:t>. Nam </a:t>
            </a:r>
            <a:r>
              <a:rPr lang="nl-NL" dirty="0" err="1" smtClean="0"/>
              <a:t>eget</a:t>
            </a:r>
            <a:r>
              <a:rPr lang="nl-NL" dirty="0" smtClean="0"/>
              <a:t> </a:t>
            </a:r>
            <a:r>
              <a:rPr lang="nl-NL" dirty="0" err="1" smtClean="0"/>
              <a:t>dui.</a:t>
            </a:r>
            <a:endParaRPr lang="nl-NL" dirty="0"/>
          </a:p>
        </p:txBody>
      </p:sp>
      <p:grpSp>
        <p:nvGrpSpPr>
          <p:cNvPr id="23" name="Groeperen 22"/>
          <p:cNvGrpSpPr/>
          <p:nvPr userDrawn="1"/>
        </p:nvGrpSpPr>
        <p:grpSpPr>
          <a:xfrm>
            <a:off x="6784711" y="5794531"/>
            <a:ext cx="2364837" cy="1075312"/>
            <a:chOff x="6784709" y="4345898"/>
            <a:chExt cx="2364837" cy="806484"/>
          </a:xfrm>
        </p:grpSpPr>
        <p:grpSp>
          <p:nvGrpSpPr>
            <p:cNvPr id="24" name="Group 6"/>
            <p:cNvGrpSpPr/>
            <p:nvPr/>
          </p:nvGrpSpPr>
          <p:grpSpPr>
            <a:xfrm>
              <a:off x="7238666" y="5106663"/>
              <a:ext cx="1910880" cy="45719"/>
              <a:chOff x="3978247" y="5494178"/>
              <a:chExt cx="3293256" cy="140901"/>
            </a:xfrm>
          </p:grpSpPr>
          <p:sp>
            <p:nvSpPr>
              <p:cNvPr id="26" name="Rectangle 7"/>
              <p:cNvSpPr/>
              <p:nvPr/>
            </p:nvSpPr>
            <p:spPr>
              <a:xfrm>
                <a:off x="3978247" y="5494178"/>
                <a:ext cx="784124" cy="140901"/>
              </a:xfrm>
              <a:prstGeom prst="rect">
                <a:avLst/>
              </a:prstGeom>
              <a:solidFill>
                <a:srgbClr val="6F014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7" name="Rectangle 8"/>
              <p:cNvSpPr/>
              <p:nvPr/>
            </p:nvSpPr>
            <p:spPr>
              <a:xfrm>
                <a:off x="4817534" y="5494178"/>
                <a:ext cx="784124" cy="140901"/>
              </a:xfrm>
              <a:prstGeom prst="rect">
                <a:avLst/>
              </a:prstGeom>
              <a:solidFill>
                <a:srgbClr val="E94D1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8" name="Rectangle 9"/>
              <p:cNvSpPr/>
              <p:nvPr/>
            </p:nvSpPr>
            <p:spPr>
              <a:xfrm>
                <a:off x="5648093" y="5494178"/>
                <a:ext cx="784124" cy="140901"/>
              </a:xfrm>
              <a:prstGeom prst="rect">
                <a:avLst/>
              </a:prstGeom>
              <a:solidFill>
                <a:srgbClr val="1398D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29" name="Rectangle 10"/>
              <p:cNvSpPr/>
              <p:nvPr/>
            </p:nvSpPr>
            <p:spPr>
              <a:xfrm>
                <a:off x="6487379" y="5494178"/>
                <a:ext cx="784124" cy="140901"/>
              </a:xfrm>
              <a:prstGeom prst="rect">
                <a:avLst/>
              </a:prstGeom>
              <a:solidFill>
                <a:srgbClr val="C1005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046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25" kern="0" baseline="30000">
                  <a:solidFill>
                    <a:srgbClr val="F8F8F8"/>
                  </a:solidFill>
                  <a:latin typeface="Arial"/>
                  <a:cs typeface="+mn-cs"/>
                </a:endParaRPr>
              </a:p>
            </p:txBody>
          </p:sp>
        </p:grpSp>
        <p:pic>
          <p:nvPicPr>
            <p:cNvPr id="25" name="Picture 51" descr="Logo StAntonius_r&amp;d_RGB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86"/>
            <a:stretch/>
          </p:blipFill>
          <p:spPr bwMode="auto">
            <a:xfrm>
              <a:off x="6784709" y="4345898"/>
              <a:ext cx="2359291" cy="7057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7701" y="815557"/>
            <a:ext cx="8569200" cy="447657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>
            <a:lvl1pPr>
              <a:defRPr lang="nl-NL" sz="1575" kern="1200" baseline="0" dirty="0">
                <a:solidFill>
                  <a:schemeClr val="tx2"/>
                </a:solidFill>
                <a:latin typeface="Alwyn" panose="00000400000000000000" pitchFamily="2" charset="0"/>
                <a:ea typeface="Alwyn" panose="00000400000000000000" pitchFamily="2" charset="0"/>
                <a:cs typeface="Alwyn" panose="00000400000000000000" pitchFamily="2" charset="0"/>
              </a:defRPr>
            </a:lvl1pPr>
          </a:lstStyle>
          <a:p>
            <a:pPr lvl="0">
              <a:lnSpc>
                <a:spcPct val="140000"/>
              </a:lnSpc>
              <a:spcAft>
                <a:spcPct val="0"/>
              </a:spcAft>
            </a:pPr>
            <a:r>
              <a:rPr lang="nl-NL" dirty="0" smtClean="0"/>
              <a:t>Sub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6803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125415" y="4310209"/>
            <a:ext cx="5767907" cy="720031"/>
          </a:xfrm>
        </p:spPr>
        <p:txBody>
          <a:bodyPr anchor="t">
            <a:noAutofit/>
          </a:bodyPr>
          <a:lstStyle>
            <a:lvl1pPr algn="l">
              <a:defRPr sz="2850">
                <a:solidFill>
                  <a:schemeClr val="bg1"/>
                </a:solidFill>
              </a:defRPr>
            </a:lvl1pPr>
          </a:lstStyle>
          <a:p>
            <a:r>
              <a:rPr lang="nl-NL"/>
              <a:t>Titelstijl van model bewerken</a:t>
            </a:r>
            <a:endParaRPr lang="nl-NL" dirty="0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3125415" y="5030237"/>
            <a:ext cx="5767907" cy="1071059"/>
          </a:xfrm>
        </p:spPr>
        <p:txBody>
          <a:bodyPr anchor="t">
            <a:normAutofit/>
          </a:bodyPr>
          <a:lstStyle>
            <a:lvl1pPr marL="0" indent="0" algn="l">
              <a:buNone/>
              <a:defRPr sz="16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titelstijl van het model te bewerken</a:t>
            </a:r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922CAE83-E9B3-4C46-8B3A-3898F0B7FD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0894" y="367229"/>
            <a:ext cx="4103488" cy="2823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596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2125A-321D-9346-867B-776BECEEADAC}" type="datetime1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E640AE-A6C7-2B4A-B6B9-78D9BE2EF76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891038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761778" y="1699200"/>
            <a:ext cx="3060000" cy="40464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5003150" y="1699200"/>
            <a:ext cx="3060000" cy="40464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358BB-23E9-0047-9B47-B2B8E2AE07C4}" type="datetime1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ADB01-CEFA-BD4E-8D66-16805D48762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6341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E96DA999-692C-AA4C-95AC-19B99F755B90}"/>
              </a:ext>
            </a:extLst>
          </p:cNvPr>
          <p:cNvSpPr/>
          <p:nvPr userDrawn="1"/>
        </p:nvSpPr>
        <p:spPr>
          <a:xfrm>
            <a:off x="0" y="0"/>
            <a:ext cx="2556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5659" y="1317497"/>
            <a:ext cx="4447641" cy="1076527"/>
          </a:xfrm>
        </p:spPr>
        <p:txBody>
          <a:bodyPr anchor="b" anchorCtr="0"/>
          <a:lstStyle>
            <a:lvl1pPr>
              <a:defRPr sz="3500"/>
            </a:lvl1pPr>
          </a:lstStyle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4662" y="2744753"/>
            <a:ext cx="5408638" cy="3007870"/>
          </a:xfrm>
        </p:spPr>
        <p:txBody>
          <a:bodyPr/>
          <a:lstStyle>
            <a:lvl1pPr marL="0" indent="0">
              <a:lnSpc>
                <a:spcPts val="326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4BF0DCAB-5D7D-7E40-8D2C-977C64B451C7}"/>
              </a:ext>
            </a:extLst>
          </p:cNvPr>
          <p:cNvSpPr/>
          <p:nvPr userDrawn="1"/>
        </p:nvSpPr>
        <p:spPr>
          <a:xfrm>
            <a:off x="-1" y="6768000"/>
            <a:ext cx="2556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D27F8800-1C25-B848-963A-A41702B2FBBC}"/>
              </a:ext>
            </a:extLst>
          </p:cNvPr>
          <p:cNvSpPr/>
          <p:nvPr userDrawn="1"/>
        </p:nvSpPr>
        <p:spPr>
          <a:xfrm>
            <a:off x="2555999" y="6768000"/>
            <a:ext cx="6588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D4C0BDEA-A282-E34D-8348-BC8B09E4DB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8549" y="0"/>
            <a:ext cx="2374900" cy="237490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320AFDAE-B9B7-7341-B786-29E22A9982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000" y="5598000"/>
            <a:ext cx="495300" cy="508000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A8B09E0-6CBC-2749-95BE-FD1C690743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27867" y="1317497"/>
            <a:ext cx="915581" cy="1231150"/>
          </a:xfrm>
        </p:spPr>
        <p:txBody>
          <a:bodyPr anchor="b" anchorCtr="0"/>
          <a:lstStyle>
            <a:lvl1pPr marL="0" indent="0" algn="l">
              <a:lnSpc>
                <a:spcPts val="9100"/>
              </a:lnSpc>
              <a:buNone/>
              <a:defRPr sz="9000" b="0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4938813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 met subkopp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761778" y="1699200"/>
            <a:ext cx="3060000" cy="639763"/>
          </a:xfrm>
        </p:spPr>
        <p:txBody>
          <a:bodyPr anchor="b">
            <a:noAutofit/>
          </a:bodyPr>
          <a:lstStyle>
            <a:lvl1pPr marL="0" indent="0">
              <a:buNone/>
              <a:defRPr sz="1500" b="0">
                <a:solidFill>
                  <a:srgbClr val="BB2148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1761778" y="2341227"/>
            <a:ext cx="3060000" cy="340890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5003150" y="1701464"/>
            <a:ext cx="3060000" cy="639763"/>
          </a:xfrm>
        </p:spPr>
        <p:txBody>
          <a:bodyPr anchor="b">
            <a:noAutofit/>
          </a:bodyPr>
          <a:lstStyle>
            <a:lvl1pPr marL="0" indent="0">
              <a:buNone/>
              <a:defRPr sz="1500" b="0">
                <a:solidFill>
                  <a:srgbClr val="BB2148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5003151" y="2338963"/>
            <a:ext cx="3060000" cy="3411167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A4288D-3F82-D045-975E-1EC7DC7BC7D5}" type="datetime1">
              <a:rPr lang="nl-NL" smtClean="0"/>
              <a:t>08-06-2021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ADB01-CEFA-BD4E-8D66-16805D48762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80395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6300000" cy="5137355"/>
          </a:xfrm>
        </p:spPr>
        <p:txBody>
          <a:bodyPr/>
          <a:lstStyle>
            <a:lvl1pPr marL="0" indent="0">
              <a:buNone/>
              <a:defRPr sz="2400">
                <a:solidFill>
                  <a:srgbClr val="BB2148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Sleep de afbeelding naar de tijdelijke aanduiding of klik op het pictogram als u een afbeelding wilt toevoege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9A378-4AF3-A442-8619-DDDAE222A45B}" type="datetime1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ADB01-CEFA-BD4E-8D66-16805D48762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03076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809" y="1699200"/>
            <a:ext cx="2946704" cy="640800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nl-NL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46086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518809" y="2367065"/>
            <a:ext cx="2941300" cy="336685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5FE996-2BEE-8242-8F14-D4C6B1FED771}" type="datetime1">
              <a:rPr lang="nl-NL" smtClean="0"/>
              <a:t>08-06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ADB01-CEFA-BD4E-8D66-16805D48762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25697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06BED-0CD0-834F-BA13-D3B8A9F78A7E}" type="datetime1">
              <a:rPr lang="nl-NL" smtClean="0"/>
              <a:t>08-06-2021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itational Bewustzijnsproject 12 september 2018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FADB01-CEFA-BD4E-8D66-16805D48762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7189285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8" descr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217602" cy="6912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Rechthoek 4"/>
          <p:cNvSpPr/>
          <p:nvPr/>
        </p:nvSpPr>
        <p:spPr>
          <a:xfrm>
            <a:off x="-1" y="188640"/>
            <a:ext cx="5598116" cy="16561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pPr algn="ctr">
              <a:defRPr sz="2400">
                <a:latin typeface="Times"/>
                <a:ea typeface="Times"/>
                <a:cs typeface="Times"/>
                <a:sym typeface="Times"/>
              </a:defRPr>
            </a:pPr>
            <a:endParaRPr sz="1800"/>
          </a:p>
        </p:txBody>
      </p:sp>
      <p:sp>
        <p:nvSpPr>
          <p:cNvPr id="16" name="Titel"/>
          <p:cNvSpPr txBox="1">
            <a:spLocks noGrp="1"/>
          </p:cNvSpPr>
          <p:nvPr>
            <p:ph type="title"/>
          </p:nvPr>
        </p:nvSpPr>
        <p:spPr>
          <a:xfrm>
            <a:off x="305990" y="2204865"/>
            <a:ext cx="7722395" cy="172819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solidFill>
                  <a:srgbClr val="FFFFFF"/>
                </a:solidFill>
              </a:defRPr>
            </a:lvl1pPr>
          </a:lstStyle>
          <a:p>
            <a:r>
              <a:t>Titel</a:t>
            </a:r>
          </a:p>
        </p:txBody>
      </p:sp>
      <p:sp>
        <p:nvSpPr>
          <p:cNvPr id="17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305991" y="3996655"/>
            <a:ext cx="7720463" cy="841649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sz="1350">
                <a:solidFill>
                  <a:srgbClr val="FFFFFF"/>
                </a:solidFill>
              </a:defRPr>
            </a:lvl1pPr>
            <a:lvl2pPr marL="0" indent="316531">
              <a:lnSpc>
                <a:spcPct val="120000"/>
              </a:lnSpc>
              <a:buSzTx/>
              <a:buNone/>
              <a:defRPr sz="1350">
                <a:solidFill>
                  <a:srgbClr val="FFFFFF"/>
                </a:solidFill>
              </a:defRPr>
            </a:lvl2pPr>
            <a:lvl3pPr marL="0" indent="633062">
              <a:lnSpc>
                <a:spcPct val="120000"/>
              </a:lnSpc>
              <a:buSzTx/>
              <a:buNone/>
              <a:defRPr sz="1350">
                <a:solidFill>
                  <a:srgbClr val="FFFFFF"/>
                </a:solidFill>
              </a:defRPr>
            </a:lvl3pPr>
            <a:lvl4pPr marL="0" indent="949592">
              <a:lnSpc>
                <a:spcPct val="120000"/>
              </a:lnSpc>
              <a:buSzTx/>
              <a:buNone/>
              <a:defRPr sz="1350">
                <a:solidFill>
                  <a:srgbClr val="FFFFFF"/>
                </a:solidFill>
              </a:defRPr>
            </a:lvl4pPr>
            <a:lvl5pPr indent="1266123">
              <a:lnSpc>
                <a:spcPct val="120000"/>
              </a:lnSpc>
              <a:defRPr sz="1350">
                <a:solidFill>
                  <a:srgbClr val="FFFFFF"/>
                </a:solidFill>
              </a:defRPr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pic>
        <p:nvPicPr>
          <p:cNvPr id="18" name="Graphic 4" descr="Graphic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598" y="398559"/>
            <a:ext cx="4356934" cy="1085754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8943379" y="7032344"/>
            <a:ext cx="95251" cy="1270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6E6E6"/>
                </a:solidFill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5139053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  <p:sp>
        <p:nvSpPr>
          <p:cNvPr id="27" name="Hoofdtekst - niveau één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28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29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314325" y="825183"/>
            <a:ext cx="8523686" cy="550691"/>
          </a:xfrm>
          <a:prstGeom prst="rect">
            <a:avLst/>
          </a:prstGeom>
        </p:spPr>
        <p:txBody>
          <a:bodyPr/>
          <a:lstStyle/>
          <a:p>
            <a:pPr>
              <a:defRPr sz="24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58958463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bject zonder ond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  <p:sp>
        <p:nvSpPr>
          <p:cNvPr id="37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305990" y="873126"/>
            <a:ext cx="8532020" cy="5327649"/>
          </a:xfrm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38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7638052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fbeelding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hte verbindingslijn 9"/>
          <p:cNvSpPr/>
          <p:nvPr/>
        </p:nvSpPr>
        <p:spPr>
          <a:xfrm>
            <a:off x="305990" y="6440488"/>
            <a:ext cx="8532020" cy="1"/>
          </a:xfrm>
          <a:prstGeom prst="line">
            <a:avLst/>
          </a:prstGeom>
          <a:ln w="3175">
            <a:solidFill>
              <a:srgbClr val="BFBFBF"/>
            </a:solidFill>
            <a:miter/>
          </a:ln>
        </p:spPr>
        <p:txBody>
          <a:bodyPr lIns="34289" rIns="34289"/>
          <a:lstStyle/>
          <a:p>
            <a:endParaRPr sz="1350"/>
          </a:p>
        </p:txBody>
      </p:sp>
      <p:sp>
        <p:nvSpPr>
          <p:cNvPr id="46" name="Rechthoek 8"/>
          <p:cNvSpPr/>
          <p:nvPr/>
        </p:nvSpPr>
        <p:spPr>
          <a:xfrm>
            <a:off x="0" y="6786000"/>
            <a:ext cx="9144000" cy="720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endParaRPr sz="1350"/>
          </a:p>
        </p:txBody>
      </p:sp>
      <p:pic>
        <p:nvPicPr>
          <p:cNvPr id="47" name="Graphic 6" descr="Graphic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753" y="6495294"/>
            <a:ext cx="1294346" cy="235901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Tijdelijke aanduiding voor afbeelding 8"/>
          <p:cNvSpPr>
            <a:spLocks noGrp="1"/>
          </p:cNvSpPr>
          <p:nvPr>
            <p:ph type="pic" idx="13"/>
          </p:nvPr>
        </p:nvSpPr>
        <p:spPr>
          <a:xfrm>
            <a:off x="305990" y="1015999"/>
            <a:ext cx="8532020" cy="518477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9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9664413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fbeelding groot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afbeelding 8"/>
          <p:cNvSpPr>
            <a:spLocks noGrp="1"/>
          </p:cNvSpPr>
          <p:nvPr>
            <p:ph type="pic" idx="13"/>
          </p:nvPr>
        </p:nvSpPr>
        <p:spPr>
          <a:xfrm>
            <a:off x="305990" y="1016000"/>
            <a:ext cx="8532020" cy="518477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57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58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051085119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nks beeld - rechts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hte verbindingslijn 9"/>
          <p:cNvSpPr/>
          <p:nvPr/>
        </p:nvSpPr>
        <p:spPr>
          <a:xfrm>
            <a:off x="305990" y="6440488"/>
            <a:ext cx="8532020" cy="1"/>
          </a:xfrm>
          <a:prstGeom prst="line">
            <a:avLst/>
          </a:prstGeom>
          <a:ln w="3175">
            <a:solidFill>
              <a:srgbClr val="BFBFBF"/>
            </a:solidFill>
            <a:miter/>
          </a:ln>
        </p:spPr>
        <p:txBody>
          <a:bodyPr lIns="34289" rIns="34289"/>
          <a:lstStyle/>
          <a:p>
            <a:endParaRPr sz="1350"/>
          </a:p>
        </p:txBody>
      </p:sp>
      <p:sp>
        <p:nvSpPr>
          <p:cNvPr id="66" name="Rechthoek 8"/>
          <p:cNvSpPr/>
          <p:nvPr/>
        </p:nvSpPr>
        <p:spPr>
          <a:xfrm>
            <a:off x="0" y="6786000"/>
            <a:ext cx="9144000" cy="720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endParaRPr sz="1350"/>
          </a:p>
        </p:txBody>
      </p:sp>
      <p:pic>
        <p:nvPicPr>
          <p:cNvPr id="67" name="Graphic 6" descr="Graphic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753" y="6495294"/>
            <a:ext cx="1294346" cy="235901"/>
          </a:xfrm>
          <a:prstGeom prst="rect">
            <a:avLst/>
          </a:prstGeom>
          <a:ln w="12700">
            <a:miter lim="400000"/>
          </a:ln>
        </p:spPr>
      </p:pic>
      <p:sp>
        <p:nvSpPr>
          <p:cNvPr id="68" name="Tijdelijke aanduiding voor afbeelding 6"/>
          <p:cNvSpPr>
            <a:spLocks noGrp="1"/>
          </p:cNvSpPr>
          <p:nvPr>
            <p:ph type="pic" sz="half" idx="13"/>
          </p:nvPr>
        </p:nvSpPr>
        <p:spPr>
          <a:xfrm>
            <a:off x="305475" y="1484312"/>
            <a:ext cx="2978270" cy="471646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9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  <p:sp>
        <p:nvSpPr>
          <p:cNvPr id="70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71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3438525" y="1484312"/>
            <a:ext cx="5400001" cy="4716462"/>
          </a:xfrm>
          <a:prstGeom prst="rect">
            <a:avLst/>
          </a:prstGeom>
        </p:spPr>
        <p:txBody>
          <a:bodyPr/>
          <a:lstStyle>
            <a:lvl5pPr marL="654645" indent="-251024">
              <a:buSzPct val="80000"/>
              <a:buChar char="▪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72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14325" y="825183"/>
            <a:ext cx="8523686" cy="550691"/>
          </a:xfrm>
          <a:prstGeom prst="rect">
            <a:avLst/>
          </a:prstGeom>
        </p:spPr>
        <p:txBody>
          <a:bodyPr/>
          <a:lstStyle/>
          <a:p>
            <a:pPr>
              <a:defRPr sz="24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6052575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grafi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3FB272A6-A8AF-B34B-960E-E2F7F1339383}"/>
              </a:ext>
            </a:extLst>
          </p:cNvPr>
          <p:cNvSpPr/>
          <p:nvPr userDrawn="1"/>
        </p:nvSpPr>
        <p:spPr>
          <a:xfrm>
            <a:off x="0" y="0"/>
            <a:ext cx="1944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30B7C2E-596C-7042-AF40-CB7AE79693F9}"/>
              </a:ext>
            </a:extLst>
          </p:cNvPr>
          <p:cNvSpPr/>
          <p:nvPr userDrawn="1"/>
        </p:nvSpPr>
        <p:spPr>
          <a:xfrm>
            <a:off x="-1" y="6768000"/>
            <a:ext cx="1944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D8F22873-9056-AC45-847C-02F87FA05423}"/>
              </a:ext>
            </a:extLst>
          </p:cNvPr>
          <p:cNvSpPr/>
          <p:nvPr userDrawn="1"/>
        </p:nvSpPr>
        <p:spPr>
          <a:xfrm>
            <a:off x="1944000" y="6768000"/>
            <a:ext cx="7200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4539F55-AB49-6A42-94B9-E7C5026D7B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1250" y="432000"/>
            <a:ext cx="825500" cy="82550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7F0DFBE7-5911-144E-9172-F0AE8C3660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000" y="5598000"/>
            <a:ext cx="495300" cy="508000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AF69F0-E0A4-1F45-8C03-657BE915BD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519999" y="4597940"/>
            <a:ext cx="5832000" cy="1309992"/>
          </a:xfrm>
        </p:spPr>
        <p:txBody>
          <a:bodyPr/>
          <a:lstStyle>
            <a:lvl1pPr marL="0" indent="0">
              <a:lnSpc>
                <a:spcPts val="2560"/>
              </a:lnSpc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F8949C-E57B-AC4A-8980-7EB3A4802E8E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2520000" y="435381"/>
            <a:ext cx="5831999" cy="554363"/>
          </a:xfrm>
        </p:spPr>
        <p:txBody>
          <a:bodyPr/>
          <a:lstStyle>
            <a:lvl1pPr marL="0" indent="0">
              <a:lnSpc>
                <a:spcPts val="4260"/>
              </a:lnSpc>
              <a:buNone/>
              <a:defRPr sz="350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 om tekst te bewerken</a:t>
            </a:r>
          </a:p>
        </p:txBody>
      </p:sp>
      <p:sp>
        <p:nvSpPr>
          <p:cNvPr id="20" name="Tijdelijke aanduiding voor inhoud 19">
            <a:extLst>
              <a:ext uri="{FF2B5EF4-FFF2-40B4-BE49-F238E27FC236}">
                <a16:creationId xmlns:a16="http://schemas.microsoft.com/office/drawing/2014/main" id="{AF5FE087-E419-2E44-A88A-EFAE54F773B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519999" y="1836000"/>
            <a:ext cx="5831998" cy="2628000"/>
          </a:xfrm>
        </p:spPr>
        <p:txBody>
          <a:bodyPr lIns="360000" tIns="360000" rIns="360000"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nl-NL" dirty="0"/>
              <a:t>Klik om grafiek toe te voeg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A1BDC48-C1E4-A641-ABB4-7681C90013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1060317"/>
            <a:ext cx="5832000" cy="605960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 dirty="0"/>
              <a:t>Klik om titel toe te voegen</a:t>
            </a:r>
          </a:p>
        </p:txBody>
      </p:sp>
    </p:spTree>
    <p:extLst>
      <p:ext uri="{BB962C8B-B14F-4D97-AF65-F5344CB8AC3E}">
        <p14:creationId xmlns:p14="http://schemas.microsoft.com/office/powerpoint/2010/main" val="17922534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Kader_links tekst - rechts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hte verbindingslijn 9"/>
          <p:cNvSpPr/>
          <p:nvPr/>
        </p:nvSpPr>
        <p:spPr>
          <a:xfrm>
            <a:off x="305990" y="6440488"/>
            <a:ext cx="8532020" cy="1"/>
          </a:xfrm>
          <a:prstGeom prst="line">
            <a:avLst/>
          </a:prstGeom>
          <a:ln w="3175">
            <a:solidFill>
              <a:srgbClr val="BFBFBF"/>
            </a:solidFill>
            <a:miter/>
          </a:ln>
        </p:spPr>
        <p:txBody>
          <a:bodyPr lIns="34289" rIns="34289"/>
          <a:lstStyle/>
          <a:p>
            <a:endParaRPr sz="1350"/>
          </a:p>
        </p:txBody>
      </p:sp>
      <p:sp>
        <p:nvSpPr>
          <p:cNvPr id="102" name="Rechthoek 8"/>
          <p:cNvSpPr/>
          <p:nvPr/>
        </p:nvSpPr>
        <p:spPr>
          <a:xfrm>
            <a:off x="0" y="6786000"/>
            <a:ext cx="9144000" cy="720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endParaRPr sz="1350"/>
          </a:p>
        </p:txBody>
      </p:sp>
      <p:pic>
        <p:nvPicPr>
          <p:cNvPr id="103" name="Graphic 6" descr="Graphic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753" y="6495294"/>
            <a:ext cx="1294346" cy="235901"/>
          </a:xfrm>
          <a:prstGeom prst="rect">
            <a:avLst/>
          </a:prstGeom>
          <a:ln w="12700">
            <a:miter lim="400000"/>
          </a:ln>
        </p:spPr>
      </p:pic>
      <p:sp>
        <p:nvSpPr>
          <p:cNvPr id="104" name="Tijdelijke aanduiding voor afbeelding 6"/>
          <p:cNvSpPr>
            <a:spLocks noGrp="1"/>
          </p:cNvSpPr>
          <p:nvPr>
            <p:ph type="pic" sz="half" idx="13"/>
          </p:nvPr>
        </p:nvSpPr>
        <p:spPr>
          <a:xfrm>
            <a:off x="5860255" y="1484312"/>
            <a:ext cx="2978270" cy="4716464"/>
          </a:xfrm>
          <a:prstGeom prst="rect">
            <a:avLst/>
          </a:prstGeom>
          <a:ln w="6350">
            <a:solidFill>
              <a:srgbClr val="CED8D8"/>
            </a:solidFill>
            <a:round/>
          </a:ln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5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  <p:sp>
        <p:nvSpPr>
          <p:cNvPr id="106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107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305989" y="1484312"/>
            <a:ext cx="5400002" cy="4716464"/>
          </a:xfrm>
          <a:prstGeom prst="rect">
            <a:avLst/>
          </a:prstGeom>
        </p:spPr>
        <p:txBody>
          <a:bodyPr/>
          <a:lstStyle>
            <a:lvl5pPr marL="654645" indent="-251024">
              <a:buSzPct val="80000"/>
              <a:buChar char="▪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08" name="Tijdelijke aanduiding voor tekst 7"/>
          <p:cNvSpPr>
            <a:spLocks noGrp="1"/>
          </p:cNvSpPr>
          <p:nvPr>
            <p:ph type="body" sz="quarter" idx="14"/>
          </p:nvPr>
        </p:nvSpPr>
        <p:spPr>
          <a:xfrm>
            <a:off x="314325" y="825183"/>
            <a:ext cx="8523686" cy="550691"/>
          </a:xfrm>
          <a:prstGeom prst="rect">
            <a:avLst/>
          </a:prstGeom>
        </p:spPr>
        <p:txBody>
          <a:bodyPr/>
          <a:lstStyle/>
          <a:p>
            <a:pPr>
              <a:defRPr sz="24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8736536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el en ond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hte verbindingslijn 9"/>
          <p:cNvSpPr/>
          <p:nvPr/>
        </p:nvSpPr>
        <p:spPr>
          <a:xfrm>
            <a:off x="305990" y="6440488"/>
            <a:ext cx="8532020" cy="1"/>
          </a:xfrm>
          <a:prstGeom prst="line">
            <a:avLst/>
          </a:prstGeom>
          <a:ln w="3175">
            <a:solidFill>
              <a:srgbClr val="BFBFBF"/>
            </a:solidFill>
            <a:miter/>
          </a:ln>
        </p:spPr>
        <p:txBody>
          <a:bodyPr lIns="34289" rIns="34289"/>
          <a:lstStyle/>
          <a:p>
            <a:endParaRPr sz="1350"/>
          </a:p>
        </p:txBody>
      </p:sp>
      <p:sp>
        <p:nvSpPr>
          <p:cNvPr id="116" name="Rechthoek 8"/>
          <p:cNvSpPr/>
          <p:nvPr/>
        </p:nvSpPr>
        <p:spPr>
          <a:xfrm>
            <a:off x="0" y="6786000"/>
            <a:ext cx="9144000" cy="720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endParaRPr sz="1350"/>
          </a:p>
        </p:txBody>
      </p:sp>
      <p:pic>
        <p:nvPicPr>
          <p:cNvPr id="117" name="Graphic 6" descr="Graphic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753" y="6495294"/>
            <a:ext cx="1294346" cy="235901"/>
          </a:xfrm>
          <a:prstGeom prst="rect">
            <a:avLst/>
          </a:prstGeom>
          <a:ln w="12700">
            <a:miter lim="400000"/>
          </a:ln>
        </p:spPr>
      </p:pic>
      <p:sp>
        <p:nvSpPr>
          <p:cNvPr id="118" name="Titel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</a:t>
            </a:r>
          </a:p>
        </p:txBody>
      </p:sp>
      <p:sp>
        <p:nvSpPr>
          <p:cNvPr id="119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120" name="Hoofdtekst - niveau één…"/>
          <p:cNvSpPr txBox="1">
            <a:spLocks noGrp="1"/>
          </p:cNvSpPr>
          <p:nvPr>
            <p:ph type="body" sz="quarter" idx="1"/>
          </p:nvPr>
        </p:nvSpPr>
        <p:spPr>
          <a:xfrm>
            <a:off x="314325" y="825183"/>
            <a:ext cx="8523686" cy="55069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278498" indent="-141576">
              <a:defRPr sz="1800"/>
            </a:lvl2pPr>
            <a:lvl3pPr marL="485126" indent="-149369">
              <a:defRPr sz="1800"/>
            </a:lvl3pPr>
            <a:lvl4pPr marL="614254" indent="-141576">
              <a:defRPr sz="1800"/>
            </a:lvl4pPr>
            <a:lvl5pPr marL="751826" indent="-149369">
              <a:buSzPct val="80000"/>
              <a:buChar char="▪"/>
              <a:defRPr sz="18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</p:spTree>
    <p:extLst>
      <p:ext uri="{BB962C8B-B14F-4D97-AF65-F5344CB8AC3E}">
        <p14:creationId xmlns:p14="http://schemas.microsoft.com/office/powerpoint/2010/main" val="4139150549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1668528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nd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6890DC-C58A-4498-88F0-448AC4E67B1B}" type="datetime1">
              <a:rPr lang="nl-NL" smtClean="0"/>
              <a:t>08-06-2021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Dit is de 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40E48E-4BDA-400B-9751-CE0FDCD52CC3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tekst 7">
            <a:extLst>
              <a:ext uri="{FF2B5EF4-FFF2-40B4-BE49-F238E27FC236}">
                <a16:creationId xmlns:a16="http://schemas.microsoft.com/office/drawing/2014/main" id="{30F1306B-B8FF-4048-ACC8-C7EA685E4E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5" y="825183"/>
            <a:ext cx="8523685" cy="550690"/>
          </a:xfrm>
        </p:spPr>
        <p:txBody>
          <a:bodyPr wrap="none" lIns="0" rIns="0" anchor="t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423866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pag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3FB272A6-A8AF-B34B-960E-E2F7F1339383}"/>
              </a:ext>
            </a:extLst>
          </p:cNvPr>
          <p:cNvSpPr/>
          <p:nvPr userDrawn="1"/>
        </p:nvSpPr>
        <p:spPr>
          <a:xfrm>
            <a:off x="0" y="0"/>
            <a:ext cx="1944000" cy="676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0" y="1060317"/>
            <a:ext cx="5832000" cy="605960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 dirty="0"/>
              <a:t>Klik om titel toe te voeg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Ruimte voor de voetnoot | xx maand xxx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30B7C2E-596C-7042-AF40-CB7AE79693F9}"/>
              </a:ext>
            </a:extLst>
          </p:cNvPr>
          <p:cNvSpPr/>
          <p:nvPr userDrawn="1"/>
        </p:nvSpPr>
        <p:spPr>
          <a:xfrm>
            <a:off x="-1" y="6768000"/>
            <a:ext cx="1944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D8F22873-9056-AC45-847C-02F87FA05423}"/>
              </a:ext>
            </a:extLst>
          </p:cNvPr>
          <p:cNvSpPr/>
          <p:nvPr userDrawn="1"/>
        </p:nvSpPr>
        <p:spPr>
          <a:xfrm>
            <a:off x="1944000" y="6768000"/>
            <a:ext cx="7200000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4539F55-AB49-6A42-94B9-E7C5026D7B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1250" y="432000"/>
            <a:ext cx="825500" cy="82550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7F0DFBE7-5911-144E-9172-F0AE8C3660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000" y="5598000"/>
            <a:ext cx="495300" cy="50800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F8949C-E57B-AC4A-8980-7EB3A4802E8E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2520000" y="435381"/>
            <a:ext cx="5831999" cy="554363"/>
          </a:xfrm>
        </p:spPr>
        <p:txBody>
          <a:bodyPr/>
          <a:lstStyle>
            <a:lvl1pPr marL="0" indent="0">
              <a:lnSpc>
                <a:spcPts val="4260"/>
              </a:lnSpc>
              <a:buNone/>
              <a:defRPr sz="350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 om tekst te bewerke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92FDA0C-E548-0948-B70D-C6EED32E33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27047" y="1783404"/>
            <a:ext cx="5824952" cy="4322596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694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9" Type="http://schemas.openxmlformats.org/officeDocument/2006/relationships/image" Target="../media/image13.emf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66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2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0" y="1066799"/>
            <a:ext cx="5847099" cy="6059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Titelstijl van mod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870" y="1780759"/>
            <a:ext cx="5794229" cy="4010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2000" y="6516000"/>
            <a:ext cx="6009057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r>
              <a:rPr lang="nl-NL"/>
              <a:t>Ruimte voor de voetnoot | xx maand xxxx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35349" y="6516000"/>
            <a:ext cx="360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81051DF8-406B-5242-9A38-0E89485B35FF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9072C73E-88C1-0643-894F-439E0EC7683B}"/>
              </a:ext>
            </a:extLst>
          </p:cNvPr>
          <p:cNvSpPr/>
          <p:nvPr userDrawn="1"/>
        </p:nvSpPr>
        <p:spPr>
          <a:xfrm>
            <a:off x="-1" y="6768000"/>
            <a:ext cx="1944000" cy="9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E6935BF7-52C8-1D41-B47F-FCD9A16FFFD9}"/>
              </a:ext>
            </a:extLst>
          </p:cNvPr>
          <p:cNvSpPr/>
          <p:nvPr userDrawn="1"/>
        </p:nvSpPr>
        <p:spPr>
          <a:xfrm>
            <a:off x="1943998" y="6768000"/>
            <a:ext cx="7200002" cy="9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3752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72" r:id="rId3"/>
    <p:sldLayoutId id="2147483673" r:id="rId4"/>
    <p:sldLayoutId id="2147483674" r:id="rId5"/>
    <p:sldLayoutId id="2147483663" r:id="rId6"/>
    <p:sldLayoutId id="2147483676" r:id="rId7"/>
    <p:sldLayoutId id="2147483664" r:id="rId8"/>
    <p:sldLayoutId id="2147483677" r:id="rId9"/>
    <p:sldLayoutId id="2147483678" r:id="rId10"/>
    <p:sldLayoutId id="2147483679" r:id="rId11"/>
    <p:sldLayoutId id="2147483681" r:id="rId12"/>
    <p:sldLayoutId id="2147483682" r:id="rId13"/>
  </p:sldLayoutIdLst>
  <p:hf hdr="0" dt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ts val="2460"/>
        </a:lnSpc>
        <a:spcBef>
          <a:spcPts val="0"/>
        </a:spcBef>
        <a:buFont typeface="Arial" panose="020B0604020202020204" pitchFamily="34" charset="0"/>
        <a:buChar char="•"/>
        <a:defRPr sz="17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ts val="2460"/>
        </a:lnSpc>
        <a:spcBef>
          <a:spcPts val="0"/>
        </a:spcBef>
        <a:buFont typeface="Arial" panose="020B0604020202020204" pitchFamily="34" charset="0"/>
        <a:buChar char="•"/>
        <a:defRPr sz="175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ts val="2460"/>
        </a:lnSpc>
        <a:spcBef>
          <a:spcPts val="0"/>
        </a:spcBef>
        <a:buFont typeface="Arial" panose="020B0604020202020204" pitchFamily="34" charset="0"/>
        <a:buChar char="•"/>
        <a:defRPr sz="175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ts val="2460"/>
        </a:lnSpc>
        <a:spcBef>
          <a:spcPts val="0"/>
        </a:spcBef>
        <a:buFont typeface="Arial" panose="020B0604020202020204" pitchFamily="34" charset="0"/>
        <a:buChar char="•"/>
        <a:defRPr sz="175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460"/>
        </a:lnSpc>
        <a:spcBef>
          <a:spcPts val="0"/>
        </a:spcBef>
        <a:buFont typeface="Arial" panose="020B0604020202020204" pitchFamily="34" charset="0"/>
        <a:buChar char="•"/>
        <a:defRPr sz="17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tekst"/>
          <p:cNvSpPr txBox="1">
            <a:spLocks noGrp="1"/>
          </p:cNvSpPr>
          <p:nvPr>
            <p:ph type="title"/>
          </p:nvPr>
        </p:nvSpPr>
        <p:spPr>
          <a:xfrm>
            <a:off x="669727" y="178594"/>
            <a:ext cx="7804547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eltekst</a:t>
            </a:r>
          </a:p>
        </p:txBody>
      </p:sp>
      <p:sp>
        <p:nvSpPr>
          <p:cNvPr id="3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669727" y="1821656"/>
            <a:ext cx="7804547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4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4449997" y="6536531"/>
            <a:ext cx="367088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31869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8" r:id="rId2"/>
    <p:sldLayoutId id="2147483689" r:id="rId3"/>
    <p:sldLayoutId id="2147483690" r:id="rId4"/>
    <p:sldLayoutId id="2147483691" r:id="rId5"/>
    <p:sldLayoutId id="2147483692" r:id="rId6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A76E4924-EC7C-4C09-BEE2-6C4507632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87E142-45B4-4723-BC39-A47E62425D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037F0C2-9DC6-408C-8BF0-68D9DD2BCB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7D7B57-9092-479D-BCB3-08E831191E9A}" type="datetimeFigureOut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A8AE569-0B8C-4040-B754-A4E6FF481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238EB97-C54C-4FC9-A983-F25E0F01FA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1EFE27-1B92-4056-A9E8-99A9A61A00B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3483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/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38" imgW="353" imgH="318" progId="TCLayout.ActiveDocument.1">
                  <p:embed/>
                </p:oleObj>
              </mc:Choice>
              <mc:Fallback>
                <p:oleObj name="think-cell Slide" r:id="rId38" imgW="353" imgH="31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5964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38962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77925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168878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558503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3000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225929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SzPct val="150000"/>
        <a:buChar char="•"/>
        <a:defRPr sz="1400">
          <a:solidFill>
            <a:schemeClr val="tx1"/>
          </a:solidFill>
          <a:latin typeface="+mn-lt"/>
        </a:defRPr>
      </a:lvl2pPr>
      <a:lvl3pPr marL="458623" indent="-231341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−"/>
        <a:defRPr sz="1400">
          <a:solidFill>
            <a:schemeClr val="tx1"/>
          </a:solidFill>
          <a:latin typeface="+mn-lt"/>
        </a:defRPr>
      </a:lvl3pPr>
      <a:lvl4pPr marL="691316" indent="-231341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4pPr>
      <a:lvl5pPr marL="917244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·"/>
        <a:defRPr sz="1400">
          <a:solidFill>
            <a:schemeClr val="tx1"/>
          </a:solidFill>
          <a:latin typeface="+mn-lt"/>
        </a:defRPr>
      </a:lvl5pPr>
      <a:lvl6pPr marL="1306870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·"/>
        <a:defRPr sz="1400">
          <a:solidFill>
            <a:schemeClr val="tx1"/>
          </a:solidFill>
          <a:latin typeface="+mn-lt"/>
        </a:defRPr>
      </a:lvl6pPr>
      <a:lvl7pPr marL="1696496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·"/>
        <a:defRPr sz="1400">
          <a:solidFill>
            <a:schemeClr val="tx1"/>
          </a:solidFill>
          <a:latin typeface="+mn-lt"/>
        </a:defRPr>
      </a:lvl7pPr>
      <a:lvl8pPr marL="2086122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·"/>
        <a:defRPr sz="1400">
          <a:solidFill>
            <a:schemeClr val="tx1"/>
          </a:solidFill>
          <a:latin typeface="+mn-lt"/>
        </a:defRPr>
      </a:lvl8pPr>
      <a:lvl9pPr marL="2475748" indent="-224576" algn="l" rtl="0" eaLnBrk="1" fontAlgn="base" hangingPunct="1">
        <a:lnSpc>
          <a:spcPts val="1790"/>
        </a:lnSpc>
        <a:spcBef>
          <a:spcPct val="0"/>
        </a:spcBef>
        <a:spcAft>
          <a:spcPct val="0"/>
        </a:spcAft>
        <a:buFont typeface="Arial" charset="0"/>
        <a:buChar char="·"/>
        <a:defRPr sz="14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761778" y="670122"/>
            <a:ext cx="6301372" cy="9300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Titelstijl van model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761778" y="1697472"/>
            <a:ext cx="6301372" cy="4047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32908" y="626448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25">
                <a:solidFill>
                  <a:srgbClr val="BB2148"/>
                </a:solidFill>
              </a:defRPr>
            </a:lvl1pPr>
          </a:lstStyle>
          <a:p>
            <a:fld id="{4059053E-B645-9B43-9F8D-15B9A1A76CE8}" type="datetime1">
              <a:rPr lang="nl-NL" smtClean="0"/>
              <a:t>08-06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51221" y="6264483"/>
            <a:ext cx="4576865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25">
                <a:solidFill>
                  <a:srgbClr val="BB2148"/>
                </a:solidFill>
              </a:defRPr>
            </a:lvl1pPr>
          </a:lstStyle>
          <a:p>
            <a:r>
              <a:rPr lang="nl-NL"/>
              <a:t>Invitational Bewustzijnsproject 12 september 2018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063152" y="6264483"/>
            <a:ext cx="629053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25">
                <a:solidFill>
                  <a:srgbClr val="BB2148"/>
                </a:solidFill>
              </a:defRPr>
            </a:lvl1pPr>
          </a:lstStyle>
          <a:p>
            <a:fld id="{56FADB01-CEFA-BD4E-8D66-16805D487620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6" name="Picture 6" descr="BZL-beeldmerk.png">
            <a:extLst>
              <a:ext uri="{FF2B5EF4-FFF2-40B4-BE49-F238E27FC236}">
                <a16:creationId xmlns:a16="http://schemas.microsoft.com/office/drawing/2014/main" id="{E72F7746-1687-124D-93C0-D67F0666C74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94" y="192366"/>
            <a:ext cx="895616" cy="1391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10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</p:sldLayoutIdLst>
  <p:hf hdr="0"/>
  <p:txStyles>
    <p:titleStyle>
      <a:lvl1pPr algn="l" defTabSz="342900" rtl="0" eaLnBrk="1" latinLnBrk="0" hangingPunct="1">
        <a:spcBef>
          <a:spcPct val="0"/>
        </a:spcBef>
        <a:buNone/>
        <a:defRPr sz="2400" kern="1200">
          <a:solidFill>
            <a:srgbClr val="BB2148"/>
          </a:solidFill>
          <a:latin typeface="+mj-lt"/>
          <a:ea typeface="+mj-ea"/>
          <a:cs typeface="+mj-cs"/>
        </a:defRPr>
      </a:lvl1pPr>
    </p:titleStyle>
    <p:bodyStyle>
      <a:lvl1pPr marL="267891" indent="-267891" algn="l" defTabSz="342900" rtl="0" eaLnBrk="1" latinLnBrk="0" hangingPunct="1">
        <a:spcBef>
          <a:spcPct val="20000"/>
        </a:spcBef>
        <a:buFont typeface="Wingdings" charset="2"/>
        <a:buAutoNum type="arabicPlain"/>
        <a:defRPr sz="1500" kern="1200">
          <a:solidFill>
            <a:srgbClr val="0C2A49"/>
          </a:solidFill>
          <a:latin typeface="+mn-lt"/>
          <a:ea typeface="+mn-ea"/>
          <a:cs typeface="+mn-cs"/>
        </a:defRPr>
      </a:lvl1pPr>
      <a:lvl2pPr marL="539354" indent="-271463" algn="l" defTabSz="342900" rtl="0" eaLnBrk="1" latinLnBrk="0" hangingPunct="1">
        <a:spcBef>
          <a:spcPct val="20000"/>
        </a:spcBef>
        <a:buClr>
          <a:srgbClr val="BB2148"/>
        </a:buClr>
        <a:buFont typeface="Wingdings" charset="2"/>
        <a:buChar char="§"/>
        <a:defRPr sz="1200" kern="1200">
          <a:solidFill>
            <a:srgbClr val="0C2A49"/>
          </a:solidFill>
          <a:latin typeface="+mn-lt"/>
          <a:ea typeface="+mn-ea"/>
          <a:cs typeface="+mn-cs"/>
        </a:defRPr>
      </a:lvl2pPr>
      <a:lvl3pPr marL="806054" indent="-266700" algn="l" defTabSz="342900" rtl="0" eaLnBrk="1" latinLnBrk="0" hangingPunct="1">
        <a:spcBef>
          <a:spcPct val="20000"/>
        </a:spcBef>
        <a:buFont typeface="Arial"/>
        <a:buChar char="•"/>
        <a:tabLst/>
        <a:defRPr sz="1200" kern="1200">
          <a:solidFill>
            <a:srgbClr val="0C2A49"/>
          </a:solidFill>
          <a:latin typeface="+mn-lt"/>
          <a:ea typeface="+mn-ea"/>
          <a:cs typeface="+mn-cs"/>
        </a:defRPr>
      </a:lvl3pPr>
      <a:lvl4pPr marL="1078706" indent="-272654" algn="l" defTabSz="342900" rtl="0" eaLnBrk="1" latinLnBrk="0" hangingPunct="1">
        <a:spcBef>
          <a:spcPct val="20000"/>
        </a:spcBef>
        <a:buFont typeface="Arial"/>
        <a:buChar char="–"/>
        <a:tabLst/>
        <a:defRPr sz="1200" kern="1200">
          <a:solidFill>
            <a:srgbClr val="0C2A49"/>
          </a:solidFill>
          <a:latin typeface="+mn-lt"/>
          <a:ea typeface="+mn-ea"/>
          <a:cs typeface="+mn-cs"/>
        </a:defRPr>
      </a:lvl4pPr>
      <a:lvl5pPr marL="1345406" indent="-26670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rgbClr val="0C2A49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 verbindingslijn 9"/>
          <p:cNvSpPr/>
          <p:nvPr/>
        </p:nvSpPr>
        <p:spPr>
          <a:xfrm>
            <a:off x="305990" y="6440488"/>
            <a:ext cx="8532020" cy="1"/>
          </a:xfrm>
          <a:prstGeom prst="line">
            <a:avLst/>
          </a:prstGeom>
          <a:ln w="3175">
            <a:solidFill>
              <a:srgbClr val="BFBFBF"/>
            </a:solidFill>
            <a:miter/>
          </a:ln>
        </p:spPr>
        <p:txBody>
          <a:bodyPr lIns="34289" rIns="34289"/>
          <a:lstStyle/>
          <a:p>
            <a:endParaRPr sz="1350"/>
          </a:p>
        </p:txBody>
      </p:sp>
      <p:sp>
        <p:nvSpPr>
          <p:cNvPr id="3" name="Rechthoek 8"/>
          <p:cNvSpPr/>
          <p:nvPr/>
        </p:nvSpPr>
        <p:spPr>
          <a:xfrm>
            <a:off x="0" y="6786000"/>
            <a:ext cx="9144000" cy="72001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27000" tIns="27000" rIns="27000" bIns="27000" anchor="ctr"/>
          <a:lstStyle/>
          <a:p>
            <a:endParaRPr sz="1350"/>
          </a:p>
        </p:txBody>
      </p:sp>
      <p:pic>
        <p:nvPicPr>
          <p:cNvPr id="4" name="Graphic 6" descr="Graphic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60753" y="6495294"/>
            <a:ext cx="1294346" cy="23590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tel"/>
          <p:cNvSpPr txBox="1">
            <a:spLocks noGrp="1"/>
          </p:cNvSpPr>
          <p:nvPr>
            <p:ph type="title"/>
          </p:nvPr>
        </p:nvSpPr>
        <p:spPr>
          <a:xfrm>
            <a:off x="314664" y="126805"/>
            <a:ext cx="8523346" cy="7280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Titel</a:t>
            </a:r>
          </a:p>
        </p:txBody>
      </p:sp>
      <p:sp>
        <p:nvSpPr>
          <p:cNvPr id="6" name="Hoofdtekst - niveau één…"/>
          <p:cNvSpPr txBox="1">
            <a:spLocks noGrp="1"/>
          </p:cNvSpPr>
          <p:nvPr>
            <p:ph type="body" idx="1"/>
          </p:nvPr>
        </p:nvSpPr>
        <p:spPr>
          <a:xfrm>
            <a:off x="305990" y="1484312"/>
            <a:ext cx="8532020" cy="47164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7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8943379" y="6549744"/>
            <a:ext cx="95251" cy="12700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normAutofit/>
          </a:bodyPr>
          <a:lstStyle>
            <a:lvl1pPr algn="ctr">
              <a:defRPr sz="600">
                <a:solidFill>
                  <a:srgbClr val="AFAFAF"/>
                </a:solidFill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2268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</p:sldLayoutIdLst>
  <p:transition spd="med"/>
  <p:txStyles>
    <p:titleStyle>
      <a:lvl1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1pPr>
      <a:lvl2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2pPr>
      <a:lvl3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3pPr>
      <a:lvl4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5pPr>
      <a:lvl6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6pPr>
      <a:lvl7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7pPr>
      <a:lvl8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8pPr>
      <a:lvl9pPr marL="0" marR="0" indent="0" algn="l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00" b="0" i="0" u="none" strike="noStrike" cap="none" spc="0" baseline="0">
          <a:solidFill>
            <a:schemeClr val="accent2"/>
          </a:solidFill>
          <a:uFillTx/>
          <a:latin typeface="+mj-lt"/>
          <a:ea typeface="+mj-ea"/>
          <a:cs typeface="+mj-cs"/>
          <a:sym typeface="Calibri"/>
        </a:defRPr>
      </a:lvl9pPr>
    </p:titleStyle>
    <p:bodyStyle>
      <a:lvl1pPr marL="0" marR="0" indent="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1pPr>
      <a:lvl2pPr marL="136922" marR="0" indent="-136922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80000"/>
        <a:buFontTx/>
        <a:buChar char="▪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2pPr>
      <a:lvl3pPr marL="266700" marR="0" indent="-129778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80000"/>
        <a:buFontTx/>
        <a:buChar char="▪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3pPr>
      <a:lvl4pPr marL="517724" marR="0" indent="-251024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80000"/>
        <a:buFontTx/>
        <a:buChar char="▪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4pPr>
      <a:lvl5pPr marL="0" marR="0" indent="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5pPr>
      <a:lvl6pPr marL="1924050" marR="0" indent="-20955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6pPr>
      <a:lvl7pPr marL="2266950" marR="0" indent="-20955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7pPr>
      <a:lvl8pPr marL="2609850" marR="0" indent="-20955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8pPr>
      <a:lvl9pPr marL="2952750" marR="0" indent="-209550" algn="l" defTabSz="539999" rtl="0" latinLnBrk="0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650" b="0" i="0" u="none" strike="noStrike" cap="none" spc="0" baseline="0">
          <a:solidFill>
            <a:srgbClr val="373737"/>
          </a:solidFill>
          <a:uFillTx/>
          <a:latin typeface="+mj-lt"/>
          <a:ea typeface="+mj-ea"/>
          <a:cs typeface="+mj-cs"/>
          <a:sym typeface="Calibri"/>
        </a:defRPr>
      </a:lvl9pPr>
    </p:bodyStyle>
    <p:otherStyle>
      <a:lvl1pPr marL="0" marR="0" indent="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3429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6858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0287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3716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7145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0574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24003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743200" algn="ctr" defTabSz="685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48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youtube.com/channel/UCldwUd7ROAhWcgi__V1Wdcw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0.jpe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linnean@zinl.nl" TargetMode="External"/><Relationship Id="rId7" Type="http://schemas.openxmlformats.org/officeDocument/2006/relationships/image" Target="../media/image70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hyperlink" Target="https://www.linnean.nl/downloads_getfilem.aspx?id=1137970&amp;forcedownload=true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7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7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5.png"/><Relationship Id="rId4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tags" Target="../tags/tag11.xml"/><Relationship Id="rId7" Type="http://schemas.openxmlformats.org/officeDocument/2006/relationships/image" Target="../media/image7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7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78.png"/><Relationship Id="rId4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innean.nl/PageByID.aspx?&amp;contentPageID=1762871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7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mailto:MLinde@zinl.nl" TargetMode="Externa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83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3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6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6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6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tiff"/><Relationship Id="rId1" Type="http://schemas.openxmlformats.org/officeDocument/2006/relationships/slideLayout" Target="../slideLayouts/slideLayout6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08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E1D4A4-C4EA-2B4D-B38B-58060B00C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931" y="2950723"/>
            <a:ext cx="5713029" cy="1280369"/>
          </a:xfrm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  <a:latin typeface="+mn-lt"/>
              </a:rPr>
              <a:t>Landelijke </a:t>
            </a:r>
            <a:r>
              <a:rPr lang="nl-NL" dirty="0"/>
              <a:t>conferentie</a:t>
            </a:r>
            <a:br>
              <a:rPr lang="nl-NL" dirty="0"/>
            </a:br>
            <a:r>
              <a:rPr lang="nl-NL" dirty="0"/>
              <a:t>Uitkomstgerichte Zorg</a:t>
            </a:r>
            <a:br>
              <a:rPr lang="nl-NL" dirty="0"/>
            </a:b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D2DBC41-0F1B-D040-96F6-BF5BC7EAF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Dinsdag 8 juni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7EB7E40-DEAB-2342-A02F-9C0CA64B4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51DF8-406B-5242-9A38-0E89485B35FF}" type="slidenum">
              <a:rPr lang="nl-NL" smtClean="0"/>
              <a:pPr/>
              <a:t>1</a:t>
            </a:fld>
            <a:endParaRPr lang="nl-NL" dirty="0"/>
          </a:p>
        </p:txBody>
      </p:sp>
      <p:sp>
        <p:nvSpPr>
          <p:cNvPr id="6" name="Tijdelijke aanduiding voor tekst 7">
            <a:extLst>
              <a:ext uri="{FF2B5EF4-FFF2-40B4-BE49-F238E27FC236}">
                <a16:creationId xmlns:a16="http://schemas.microsoft.com/office/drawing/2014/main" id="{5AE652E4-C955-3649-A2D6-C13A960AC81E}"/>
              </a:ext>
            </a:extLst>
          </p:cNvPr>
          <p:cNvSpPr txBox="1">
            <a:spLocks/>
          </p:cNvSpPr>
          <p:nvPr/>
        </p:nvSpPr>
        <p:spPr>
          <a:xfrm>
            <a:off x="237225" y="4964767"/>
            <a:ext cx="6454516" cy="1115191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ts val="24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b="1" dirty="0" err="1"/>
              <a:t>Waardegedreven</a:t>
            </a:r>
            <a:r>
              <a:rPr lang="nl-NL" b="1" dirty="0"/>
              <a:t> zorg: een noodzakelijke basis in de opleidingen van zorgprofessionals</a:t>
            </a:r>
          </a:p>
          <a:p>
            <a:pPr marL="0" indent="0">
              <a:buNone/>
            </a:pPr>
            <a:r>
              <a:rPr lang="nl-NL" sz="1800" dirty="0"/>
              <a:t>Willem Jan </a:t>
            </a:r>
            <a:r>
              <a:rPr lang="nl-NL" sz="1800" dirty="0" smtClean="0"/>
              <a:t>Bos, Anne </a:t>
            </a:r>
            <a:r>
              <a:rPr lang="nl-NL" sz="1800" dirty="0" err="1" smtClean="0"/>
              <a:t>Stiggelbout</a:t>
            </a:r>
            <a:r>
              <a:rPr lang="nl-NL" sz="1800" dirty="0" smtClean="0"/>
              <a:t>, Kees </a:t>
            </a:r>
            <a:r>
              <a:rPr lang="nl-NL" sz="1800" dirty="0"/>
              <a:t>Ahaus, Paul van der Nat, Laurents </a:t>
            </a:r>
            <a:r>
              <a:rPr lang="nl-NL" sz="1800" dirty="0" smtClean="0"/>
              <a:t>Stassen, Matthijs </a:t>
            </a:r>
            <a:r>
              <a:rPr lang="nl-NL" sz="1800" dirty="0"/>
              <a:t>van der </a:t>
            </a:r>
            <a:r>
              <a:rPr lang="nl-NL" sz="1800" dirty="0" smtClean="0"/>
              <a:t>Linde</a:t>
            </a:r>
            <a:endParaRPr lang="nl-NL" sz="1600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6902" y="1978429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4520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LINNEAN_PRESENTATIE_SLIDES4.jpg" descr="LINNEAN_PRESENTATIE_SLIDES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1" y="0"/>
            <a:ext cx="913971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32" name="Om het gebruik van uitkomsten…"/>
          <p:cNvSpPr txBox="1">
            <a:spLocks noGrp="1"/>
          </p:cNvSpPr>
          <p:nvPr>
            <p:ph type="title"/>
          </p:nvPr>
        </p:nvSpPr>
        <p:spPr>
          <a:xfrm>
            <a:off x="2455790" y="1746094"/>
            <a:ext cx="5104736" cy="278595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l" defTabSz="321457">
              <a:lnSpc>
                <a:spcPct val="120000"/>
              </a:lnSpc>
              <a:defRPr sz="3150">
                <a:solidFill>
                  <a:srgbClr val="E967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dirty="0"/>
              <a:t/>
            </a:r>
            <a:br>
              <a:rPr lang="nl-NL" dirty="0"/>
            </a:br>
            <a:r>
              <a:rPr lang="nl-NL" dirty="0"/>
              <a:t>Geeft U zelf onderwijs  in </a:t>
            </a:r>
            <a:r>
              <a:rPr lang="nl-NL" dirty="0" err="1"/>
              <a:t>waardegedreven</a:t>
            </a:r>
            <a:r>
              <a:rPr lang="nl-NL" dirty="0"/>
              <a:t> Zorg?</a:t>
            </a:r>
            <a:br>
              <a:rPr lang="nl-NL" dirty="0"/>
            </a:br>
            <a:r>
              <a:rPr lang="nl-NL" dirty="0"/>
              <a:t/>
            </a:r>
            <a:br>
              <a:rPr lang="nl-NL" dirty="0"/>
            </a:br>
            <a:r>
              <a:rPr lang="nl-NL" dirty="0"/>
              <a:t>Zo ja, aan wie?</a:t>
            </a:r>
            <a:endParaRPr dirty="0"/>
          </a:p>
        </p:txBody>
      </p:sp>
      <p:sp>
        <p:nvSpPr>
          <p:cNvPr id="3" name="Rechthoek 2"/>
          <p:cNvSpPr/>
          <p:nvPr/>
        </p:nvSpPr>
        <p:spPr>
          <a:xfrm>
            <a:off x="2827965" y="1415944"/>
            <a:ext cx="3118161" cy="45235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Vraag aan deelnemers</a:t>
            </a: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Antwoord in chat!</a:t>
            </a:r>
            <a:endParaRPr lang="en-US" sz="1687" b="1" kern="0" dirty="0">
              <a:solidFill>
                <a:srgbClr val="E9675F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56902363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"/>
          </p:nvPr>
        </p:nvSpPr>
        <p:spPr>
          <a:xfrm>
            <a:off x="892969" y="4473774"/>
            <a:ext cx="7358063" cy="324818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endParaRPr lang="nl-NL"/>
          </a:p>
        </p:txBody>
      </p:sp>
      <p:sp>
        <p:nvSpPr>
          <p:cNvPr id="18435" name="Tijdelijke aanduiding voor tekst 2"/>
          <p:cNvSpPr txBox="1">
            <a:spLocks noGrp="1"/>
          </p:cNvSpPr>
          <p:nvPr>
            <p:ph type="body" sz="quarter" idx="13"/>
          </p:nvPr>
        </p:nvSpPr>
        <p:spPr>
          <a:xfrm>
            <a:off x="892969" y="3000375"/>
            <a:ext cx="7358063" cy="428625"/>
          </a:xfrm>
        </p:spPr>
        <p:txBody>
          <a:bodyPr>
            <a:normAutofit lnSpcReduction="10000"/>
          </a:bodyPr>
          <a:lstStyle/>
          <a:p>
            <a:pPr eaLnBrk="1" hangingPunct="1"/>
            <a:endParaRPr lang="nl-NL" altLang="en-US"/>
          </a:p>
        </p:txBody>
      </p:sp>
      <p:pic>
        <p:nvPicPr>
          <p:cNvPr id="18436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3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214313" y="383601"/>
            <a:ext cx="8773570" cy="6953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35719" tIns="35719" rIns="35719" bIns="35719" spcCol="38100" anchor="ctr">
            <a:spAutoFit/>
          </a:bodyPr>
          <a:lstStyle/>
          <a:p>
            <a:pPr defTabSz="410751" hangingPunct="0">
              <a:defRPr/>
            </a:pPr>
            <a:r>
              <a:rPr lang="nl-NL" sz="2250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Werkbezoeken:  </a:t>
            </a:r>
            <a:r>
              <a:rPr lang="nl-NL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OLVG, NKI/ </a:t>
            </a:r>
            <a:r>
              <a:rPr lang="nl-NL" kern="0" dirty="0" err="1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AvL</a:t>
            </a:r>
            <a:r>
              <a:rPr lang="nl-NL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, Catharina ziekenhuis, Santeon, Isala</a:t>
            </a:r>
          </a:p>
          <a:p>
            <a:pPr defTabSz="410751" hangingPunct="0">
              <a:defRPr/>
            </a:pPr>
            <a:r>
              <a:rPr lang="nl-NL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                                   </a:t>
            </a:r>
            <a:r>
              <a:rPr lang="nl-NL" kern="0" dirty="0" smtClean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Waardegedreven </a:t>
            </a:r>
            <a:r>
              <a:rPr lang="nl-NL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zorg in de praktijk </a:t>
            </a:r>
          </a:p>
        </p:txBody>
      </p:sp>
      <p:pic>
        <p:nvPicPr>
          <p:cNvPr id="18438" name="Afbeelding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897" y="1378521"/>
            <a:ext cx="3357563" cy="2241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9" name="Afbeelding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0072" y="1378521"/>
            <a:ext cx="1664270" cy="2499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Afbeelding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900" y="4177978"/>
            <a:ext cx="3661172" cy="2089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1" name="Afbeelding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8365" y="4097407"/>
            <a:ext cx="3256735" cy="2170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2" name="Picture 2" descr="https://www.linnean.nl/inspiratie/bijeenkomsten+en+werkbezoeken/webcast+10+september+catharina+ziekenhuis/274045.png?Width=900&amp;Height=-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7525" y="1378521"/>
            <a:ext cx="2588493" cy="156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83993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5" y="-893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0483" name="Tijdelijke aanduiding voor tekst 2"/>
          <p:cNvSpPr txBox="1">
            <a:spLocks noGrp="1"/>
          </p:cNvSpPr>
          <p:nvPr>
            <p:ph type="body" sz="quarter" idx="13"/>
          </p:nvPr>
        </p:nvSpPr>
        <p:spPr>
          <a:xfrm>
            <a:off x="892969" y="3000375"/>
            <a:ext cx="7358063" cy="42862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altLang="en-US"/>
          </a:p>
        </p:txBody>
      </p:sp>
      <p:sp>
        <p:nvSpPr>
          <p:cNvPr id="4" name="Tekstvak 3"/>
          <p:cNvSpPr txBox="1"/>
          <p:nvPr/>
        </p:nvSpPr>
        <p:spPr>
          <a:xfrm>
            <a:off x="214314" y="522101"/>
            <a:ext cx="8036718" cy="4183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2250" kern="0" dirty="0">
                <a:solidFill>
                  <a:srgbClr val="FFFFFF"/>
                </a:solidFill>
                <a:latin typeface="Helvetica Neue Medium"/>
                <a:sym typeface="Helvetica Neue Medium"/>
              </a:rPr>
              <a:t>Terugkijken – digitale bijeenkomsten</a:t>
            </a:r>
            <a:endParaRPr lang="nl-NL" sz="2250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20485" name="Afbeelding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130" t="15842" r="27991" b="13409"/>
          <a:stretch>
            <a:fillRect/>
          </a:stretch>
        </p:blipFill>
        <p:spPr bwMode="auto">
          <a:xfrm>
            <a:off x="214313" y="1388567"/>
            <a:ext cx="3814093" cy="461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Afbeelding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2382" y="1368475"/>
            <a:ext cx="4174629" cy="241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Picture 3" descr="45736739-3ab3-4f22-8cd8-a97b112dc2d5@zin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3939109"/>
            <a:ext cx="3840882" cy="2059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276952" y="6171594"/>
            <a:ext cx="5588069" cy="5048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defTabSz="410751" hangingPunct="0">
              <a:defRPr/>
            </a:pPr>
            <a:r>
              <a:rPr lang="nl-NL" sz="1406" kern="0" dirty="0">
                <a:solidFill>
                  <a:srgbClr val="00000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Kijk op ons YouTube </a:t>
            </a:r>
            <a:r>
              <a:rPr lang="nl-NL" sz="1406" kern="0" dirty="0">
                <a:solidFill>
                  <a:srgbClr val="000000"/>
                </a:solidFill>
                <a:latin typeface="Helvetica Neue Medium"/>
                <a:sym typeface="Helvetica Neue Medium"/>
              </a:rPr>
              <a:t>kanaal:</a:t>
            </a:r>
          </a:p>
          <a:p>
            <a:pPr algn="ctr" defTabSz="410751" hangingPunct="0">
              <a:defRPr/>
            </a:pPr>
            <a:r>
              <a:rPr lang="nl-NL" sz="1406" kern="0" dirty="0">
                <a:solidFill>
                  <a:srgbClr val="000000"/>
                </a:solidFill>
                <a:latin typeface="Helvetica Neue Medium"/>
                <a:sym typeface="Helvetica Neue Medium"/>
              </a:rPr>
              <a:t> </a:t>
            </a:r>
            <a:r>
              <a:rPr lang="nl-NL" sz="1406" kern="0" dirty="0">
                <a:solidFill>
                  <a:srgbClr val="000000"/>
                </a:solidFill>
                <a:latin typeface="Helvetica Neue Medium"/>
                <a:sym typeface="Helvetica Neue Medium"/>
                <a:hlinkClick r:id="rId6"/>
              </a:rPr>
              <a:t>https://www.youtube.com/channel/UCldwUd7ROAhWcgi__V1Wdcw</a:t>
            </a:r>
            <a:r>
              <a:rPr lang="nl-NL" sz="1406" kern="0" dirty="0">
                <a:solidFill>
                  <a:srgbClr val="000000"/>
                </a:solidFill>
                <a:latin typeface="Helvetica Neue Medium"/>
                <a:sym typeface="Helvetica Neue Medium"/>
              </a:rPr>
              <a:t> </a:t>
            </a:r>
            <a:endParaRPr lang="en-US" sz="1406" kern="0" dirty="0">
              <a:solidFill>
                <a:srgbClr val="000000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4771048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3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2531" name="Afbeelding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423" y="210964"/>
            <a:ext cx="7081242" cy="279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Rechte verbindingslijn 3"/>
          <p:cNvCxnSpPr/>
          <p:nvPr/>
        </p:nvCxnSpPr>
        <p:spPr>
          <a:xfrm flipV="1">
            <a:off x="6989885" y="272012"/>
            <a:ext cx="1046834" cy="535781"/>
          </a:xfrm>
          <a:prstGeom prst="line">
            <a:avLst/>
          </a:prstGeom>
          <a:noFill/>
          <a:ln w="25400" cap="flat">
            <a:solidFill>
              <a:srgbClr val="E967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Ovaal 5"/>
          <p:cNvSpPr/>
          <p:nvPr/>
        </p:nvSpPr>
        <p:spPr>
          <a:xfrm>
            <a:off x="7979019" y="45530"/>
            <a:ext cx="164856" cy="466515"/>
          </a:xfrm>
          <a:prstGeom prst="ellipse">
            <a:avLst/>
          </a:prstGeom>
          <a:solidFill>
            <a:srgbClr val="E9675F"/>
          </a:solidFill>
          <a:ln w="25400" cap="flat">
            <a:solidFill>
              <a:srgbClr val="E9675F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endParaRPr lang="en-US" sz="1687" kern="0">
              <a:solidFill>
                <a:srgbClr val="000000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8167022" y="47922"/>
            <a:ext cx="737382" cy="461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266" kern="0" dirty="0">
                <a:solidFill>
                  <a:srgbClr val="E9675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Mei 2021</a:t>
            </a:r>
          </a:p>
          <a:p>
            <a:pPr algn="ctr" defTabSz="410751" hangingPunct="0">
              <a:defRPr/>
            </a:pPr>
            <a:r>
              <a:rPr lang="nl-NL" sz="1266" kern="0" dirty="0">
                <a:solidFill>
                  <a:srgbClr val="E9675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1000+</a:t>
            </a:r>
            <a:endParaRPr lang="en-US" sz="1687" kern="0" dirty="0">
              <a:solidFill>
                <a:srgbClr val="E9675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352239" y="3333404"/>
            <a:ext cx="8593457" cy="333911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11" name="Grafiek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1408084"/>
              </p:ext>
            </p:extLst>
          </p:nvPr>
        </p:nvGraphicFramePr>
        <p:xfrm>
          <a:off x="468217" y="3346514"/>
          <a:ext cx="8207566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0434275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3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10" name="Tekstvak 2"/>
          <p:cNvSpPr txBox="1"/>
          <p:nvPr/>
        </p:nvSpPr>
        <p:spPr>
          <a:xfrm>
            <a:off x="453182" y="569233"/>
            <a:ext cx="7822406" cy="1889813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35719" tIns="35719" rIns="35719" bIns="35719" anchor="ctr">
            <a:spAutoFit/>
          </a:bodyPr>
          <a:lstStyle/>
          <a:p>
            <a:pPr defTabSz="410751" hangingPunct="0">
              <a:defRPr sz="5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3656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                    Werkgroepen </a:t>
            </a:r>
          </a:p>
          <a:p>
            <a:pPr defTabSz="410751" hangingPunct="0">
              <a:defRPr sz="5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3656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middels 12 p</a:t>
            </a:r>
            <a:r>
              <a:rPr sz="3656" kern="0" dirty="0" err="1" smtClea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oduc</a:t>
            </a:r>
            <a:r>
              <a:rPr lang="nl-NL" sz="3656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en (onderweg)</a:t>
            </a:r>
          </a:p>
          <a:p>
            <a:pPr defTabSz="410751" hangingPunct="0">
              <a:defRPr sz="5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25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41093"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25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www.linnean.nl/Communities/Common/Images/Linnean/image(43)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767" y="2368001"/>
            <a:ext cx="1800000" cy="1264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linnean.nl/Communities/Common/Images/Linnean/202-06-18_VR_Linnean%201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1709" y="2457328"/>
            <a:ext cx="1800000" cy="1175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linnean.nl/Communities/Common/Images/Linnean/image(49)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2658" y="2459046"/>
            <a:ext cx="1015548" cy="11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ttps://www.linnean.nl/296600.jpg?width=1200&amp;height=-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9546" y="2388529"/>
            <a:ext cx="1800000" cy="127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https://www.linnean.nl/Communities/Common/Images/Linnean/Icon_Linnean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182" y="3904758"/>
            <a:ext cx="1292372" cy="11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https://www.linnean.nl/Communities/Common/Images/Linnean/PREM%20zakboekje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2912" y="3953278"/>
            <a:ext cx="1145294" cy="11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Afbeelding 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5353" y="3891528"/>
            <a:ext cx="1584124" cy="1188000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181" y="3953278"/>
            <a:ext cx="1584124" cy="1188000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826" y="5455039"/>
            <a:ext cx="1584124" cy="1188000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698" y="5455039"/>
            <a:ext cx="1584124" cy="1188000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5023" y="5385803"/>
            <a:ext cx="1584124" cy="1188000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>
            <a:off x="2540833" y="4295732"/>
            <a:ext cx="101316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i="0" u="none" strike="noStrike" cap="none" spc="0" normalizeH="0" baseline="0" dirty="0">
                <a:ln>
                  <a:noFill/>
                </a:ln>
                <a:solidFill>
                  <a:srgbClr val="2CBFB9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Verhalen</a:t>
            </a:r>
            <a:endParaRPr kumimoji="0" lang="en-US" sz="2400" i="0" u="none" strike="noStrike" cap="none" spc="0" normalizeH="0" baseline="0" dirty="0">
              <a:ln>
                <a:noFill/>
              </a:ln>
              <a:solidFill>
                <a:srgbClr val="2CBFB9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Tekstvak 19"/>
          <p:cNvSpPr txBox="1"/>
          <p:nvPr/>
        </p:nvSpPr>
        <p:spPr>
          <a:xfrm>
            <a:off x="6463801" y="4342093"/>
            <a:ext cx="900888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l-NL" sz="2000" i="0" u="none" strike="noStrike" cap="none" spc="0" normalizeH="0" baseline="0" dirty="0">
                <a:ln>
                  <a:noFill/>
                </a:ln>
                <a:solidFill>
                  <a:srgbClr val="2CBFB9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Kosten</a:t>
            </a:r>
            <a:endParaRPr kumimoji="0" lang="en-US" sz="2400" i="0" u="none" strike="noStrike" cap="none" spc="0" normalizeH="0" baseline="0" dirty="0">
              <a:ln>
                <a:noFill/>
              </a:ln>
              <a:solidFill>
                <a:srgbClr val="2CBFB9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555906" y="5874632"/>
            <a:ext cx="1128514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584200" hangingPunct="0"/>
            <a:r>
              <a:rPr lang="nl-NL" sz="1600" dirty="0">
                <a:solidFill>
                  <a:srgbClr val="2CBFB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rchetypes</a:t>
            </a:r>
            <a:endParaRPr kumimoji="0" lang="en-US" sz="2400" i="0" u="none" strike="noStrike" cap="none" spc="0" normalizeH="0" baseline="0" dirty="0">
              <a:ln>
                <a:noFill/>
              </a:ln>
              <a:solidFill>
                <a:srgbClr val="2CBFB9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2" name="Tekstvak 21"/>
          <p:cNvSpPr txBox="1"/>
          <p:nvPr/>
        </p:nvSpPr>
        <p:spPr>
          <a:xfrm>
            <a:off x="2685086" y="5860844"/>
            <a:ext cx="1093249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584200" hangingPunct="0"/>
            <a:r>
              <a:rPr lang="nl-NL" sz="1600" dirty="0">
                <a:solidFill>
                  <a:srgbClr val="2CBFB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QuickScan</a:t>
            </a:r>
            <a:endParaRPr kumimoji="0" lang="en-US" sz="2400" i="0" u="none" strike="noStrike" cap="none" spc="0" normalizeH="0" baseline="0" dirty="0">
              <a:ln>
                <a:noFill/>
              </a:ln>
              <a:solidFill>
                <a:srgbClr val="2CBFB9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Tekstvak 22"/>
          <p:cNvSpPr txBox="1"/>
          <p:nvPr/>
        </p:nvSpPr>
        <p:spPr>
          <a:xfrm>
            <a:off x="4619966" y="5855673"/>
            <a:ext cx="119423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algn="ctr" defTabSz="584200" hangingPunct="0"/>
            <a:r>
              <a:rPr lang="nl-NL" sz="1600" dirty="0">
                <a:solidFill>
                  <a:srgbClr val="2CBFB9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Handreiking</a:t>
            </a:r>
            <a:endParaRPr kumimoji="0" lang="en-US" sz="2400" i="0" u="none" strike="noStrike" cap="none" spc="0" normalizeH="0" baseline="0" dirty="0">
              <a:ln>
                <a:noFill/>
              </a:ln>
              <a:solidFill>
                <a:srgbClr val="2CBFB9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26" name="Afbeelding 2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204" y="5114130"/>
            <a:ext cx="2493282" cy="1869815"/>
          </a:xfrm>
          <a:prstGeom prst="rect">
            <a:avLst/>
          </a:prstGeom>
        </p:spPr>
      </p:pic>
      <p:pic>
        <p:nvPicPr>
          <p:cNvPr id="2062" name="Picture 14" descr="Elementen van veranderen - Knoster model / Lippitt change model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6336721" y="6169730"/>
            <a:ext cx="1719375" cy="678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hoek 3"/>
          <p:cNvSpPr/>
          <p:nvPr/>
        </p:nvSpPr>
        <p:spPr>
          <a:xfrm>
            <a:off x="6407643" y="5347841"/>
            <a:ext cx="13948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200" b="1" dirty="0">
                <a:solidFill>
                  <a:srgbClr val="2CBFB9"/>
                </a:solidFill>
                <a:latin typeface="Lato"/>
              </a:rPr>
              <a:t>Kennisbank </a:t>
            </a:r>
            <a:r>
              <a:rPr lang="nl-NL" sz="1200" b="1" dirty="0" err="1">
                <a:solidFill>
                  <a:srgbClr val="2CBFB9"/>
                </a:solidFill>
                <a:latin typeface="Lato"/>
              </a:rPr>
              <a:t>'Van</a:t>
            </a:r>
            <a:r>
              <a:rPr lang="nl-NL" sz="1200" b="1" dirty="0">
                <a:solidFill>
                  <a:srgbClr val="2CBFB9"/>
                </a:solidFill>
                <a:latin typeface="Lato"/>
              </a:rPr>
              <a:t> meten naar aantoonbaar verbeteren'</a:t>
            </a:r>
            <a:endParaRPr lang="en-US" sz="1200" dirty="0">
              <a:solidFill>
                <a:srgbClr val="2CBF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98615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LINNEAN_PRESENTATIE_SLIDES3.jpg" descr="LINNEAN_PRESENTATIE_SLIDES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" name="Tijdelijke aanduiding voor tekst 1"/>
          <p:cNvSpPr>
            <a:spLocks noGrp="1"/>
          </p:cNvSpPr>
          <p:nvPr>
            <p:ph type="body" sz="quarter" idx="1"/>
          </p:nvPr>
        </p:nvSpPr>
        <p:spPr>
          <a:xfrm>
            <a:off x="892969" y="4473774"/>
            <a:ext cx="7358063" cy="324818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endParaRPr lang="nl-NL"/>
          </a:p>
        </p:txBody>
      </p:sp>
      <p:sp>
        <p:nvSpPr>
          <p:cNvPr id="26628" name="Tijdelijke aanduiding voor tekst 2"/>
          <p:cNvSpPr txBox="1">
            <a:spLocks noGrp="1"/>
          </p:cNvSpPr>
          <p:nvPr>
            <p:ph type="body" sz="quarter" idx="13"/>
          </p:nvPr>
        </p:nvSpPr>
        <p:spPr>
          <a:xfrm>
            <a:off x="892969" y="3000375"/>
            <a:ext cx="7358063" cy="428625"/>
          </a:xfrm>
        </p:spPr>
        <p:txBody>
          <a:bodyPr>
            <a:normAutofit lnSpcReduction="10000"/>
          </a:bodyPr>
          <a:lstStyle/>
          <a:p>
            <a:pPr eaLnBrk="1" hangingPunct="1"/>
            <a:endParaRPr lang="nl-NL" altLang="en-US" smtClean="0"/>
          </a:p>
        </p:txBody>
      </p:sp>
      <p:pic>
        <p:nvPicPr>
          <p:cNvPr id="26629" name="Afbeelding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900" y="1462236"/>
            <a:ext cx="9079260" cy="4569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vak 3"/>
          <p:cNvSpPr txBox="1"/>
          <p:nvPr/>
        </p:nvSpPr>
        <p:spPr>
          <a:xfrm flipH="1">
            <a:off x="447376" y="109831"/>
            <a:ext cx="7311997" cy="93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2812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Dat alles komt samen op ons interactieve platform www.linnean.nl</a:t>
            </a:r>
            <a:endParaRPr lang="en-US" sz="2812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387918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LINNEAN_PRESENTATIE_SLIDES3.jpg" descr="LINNEAN_PRESENTATIE_SLIDES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8675" name="Subtitel"/>
          <p:cNvSpPr txBox="1">
            <a:spLocks noGrp="1"/>
          </p:cNvSpPr>
          <p:nvPr>
            <p:ph type="subTitle" sz="quarter" idx="1"/>
          </p:nvPr>
        </p:nvSpPr>
        <p:spPr>
          <a:xfrm>
            <a:off x="1163092" y="2048248"/>
            <a:ext cx="3696891" cy="2761506"/>
          </a:xfrm>
        </p:spPr>
        <p:txBody>
          <a:bodyPr/>
          <a:lstStyle/>
          <a:p>
            <a:pPr algn="r" eaLnBrk="1" hangingPunct="1">
              <a:spcBef>
                <a:spcPct val="0"/>
              </a:spcBef>
            </a:pPr>
            <a:endParaRPr lang="nl-NL" altLang="en-US" sz="1969">
              <a:solidFill>
                <a:srgbClr val="D5BD5A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</a:pPr>
            <a:r>
              <a:rPr lang="nl-NL" altLang="en-US" sz="1969">
                <a:solidFill>
                  <a:srgbClr val="D5BD5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ACT</a:t>
            </a:r>
          </a:p>
          <a:p>
            <a:pPr algn="r" eaLnBrk="1" hangingPunct="1">
              <a:spcBef>
                <a:spcPct val="0"/>
              </a:spcBef>
            </a:pPr>
            <a:endParaRPr lang="nl-NL" altLang="en-US" sz="1969">
              <a:solidFill>
                <a:srgbClr val="D5BD5A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</a:pPr>
            <a:endParaRPr lang="nl-NL" altLang="en-US" sz="1969">
              <a:solidFill>
                <a:srgbClr val="D5BD5A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  <a:hlinkClick r:id="rId3"/>
            </a:endParaRPr>
          </a:p>
          <a:p>
            <a:pPr algn="r" eaLnBrk="1" hangingPunct="1">
              <a:spcBef>
                <a:spcPct val="0"/>
              </a:spcBef>
            </a:pPr>
            <a:r>
              <a:rPr lang="nl-NL" altLang="en-US" sz="1969">
                <a:solidFill>
                  <a:srgbClr val="D5BD5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  <a:hlinkClick r:id="rId3"/>
              </a:rPr>
              <a:t>linnean@zinl.nl</a:t>
            </a:r>
            <a:r>
              <a:rPr lang="nl-NL" altLang="en-US" sz="1969">
                <a:solidFill>
                  <a:srgbClr val="D5BD5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</a:pPr>
            <a:endParaRPr lang="nl-NL" altLang="en-US" sz="1969">
              <a:solidFill>
                <a:srgbClr val="D5BD5A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</a:pPr>
            <a:r>
              <a:rPr lang="en-US" altLang="en-US" sz="1969">
                <a:solidFill>
                  <a:srgbClr val="D5BD5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ww.linnean.nl</a:t>
            </a:r>
          </a:p>
        </p:txBody>
      </p:sp>
      <p:pic>
        <p:nvPicPr>
          <p:cNvPr id="28676" name="Afbeelding 9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625" y="3205758"/>
            <a:ext cx="1240111" cy="182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5981273" y="901939"/>
            <a:ext cx="2484656" cy="5913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Meer informatie? </a:t>
            </a:r>
          </a:p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Lees het jaarplan 2021…</a:t>
            </a:r>
          </a:p>
        </p:txBody>
      </p:sp>
      <p:sp>
        <p:nvSpPr>
          <p:cNvPr id="28678" name="Rechthoek 2"/>
          <p:cNvSpPr>
            <a:spLocks noChangeArrowheads="1"/>
          </p:cNvSpPr>
          <p:nvPr/>
        </p:nvSpPr>
        <p:spPr bwMode="auto">
          <a:xfrm>
            <a:off x="5716509" y="2880941"/>
            <a:ext cx="3161443" cy="351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en jaarverslagen 2019 en 2020</a:t>
            </a:r>
          </a:p>
        </p:txBody>
      </p:sp>
      <p:pic>
        <p:nvPicPr>
          <p:cNvPr id="28679" name="Afbeelding 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7174" y="1493490"/>
            <a:ext cx="1061517" cy="1387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0" name="Afbeelding 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6564" y="3205758"/>
            <a:ext cx="1425402" cy="182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9739269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b="1" dirty="0" smtClean="0"/>
              <a:t>Advies </a:t>
            </a:r>
            <a:r>
              <a:rPr lang="nl-NL" sz="1050" b="1" dirty="0"/>
              <a:t>‘Waardegedreven Zorg: een noodzakelijke basis in de opleidingen van zorgprofessionals’ – </a:t>
            </a:r>
            <a:r>
              <a:rPr lang="nl-NL" sz="1050" b="1" dirty="0" smtClean="0"/>
              <a:t>Anne </a:t>
            </a:r>
            <a:r>
              <a:rPr lang="nl-NL" sz="1050" b="1" dirty="0" err="1" smtClean="0"/>
              <a:t>Stiggelbout</a:t>
            </a:r>
            <a:endParaRPr lang="nl-NL" sz="1050" b="1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2548149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2531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02837" y="2194642"/>
            <a:ext cx="3338329" cy="36050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531" b="1" dirty="0" err="1"/>
              <a:t>Opleiding</a:t>
            </a:r>
            <a:r>
              <a:rPr lang="en-US" sz="2531" b="1" dirty="0"/>
              <a:t> en </a:t>
            </a:r>
            <a:r>
              <a:rPr lang="en-US" sz="2531" b="1" dirty="0" err="1"/>
              <a:t>scholing</a:t>
            </a:r>
            <a:r>
              <a:rPr lang="en-US" sz="2531" b="1" dirty="0"/>
              <a:t> </a:t>
            </a:r>
            <a:r>
              <a:rPr lang="en-US" sz="2531" b="1" dirty="0" err="1" smtClean="0"/>
              <a:t>staan</a:t>
            </a:r>
            <a:r>
              <a:rPr lang="en-US" sz="2531" b="1" dirty="0" smtClean="0"/>
              <a:t> </a:t>
            </a:r>
            <a:r>
              <a:rPr lang="en-US" sz="2531" b="1" dirty="0" err="1"/>
              <a:t>centraal</a:t>
            </a:r>
            <a:r>
              <a:rPr lang="en-US" sz="2531" b="1" dirty="0"/>
              <a:t> in </a:t>
            </a:r>
            <a:r>
              <a:rPr lang="en-US" sz="2531" b="1" dirty="0" err="1"/>
              <a:t>transformatie</a:t>
            </a:r>
            <a:r>
              <a:rPr lang="en-US" sz="2531" b="1" dirty="0"/>
              <a:t> </a:t>
            </a:r>
            <a:r>
              <a:rPr lang="en-US" sz="2531" b="1" dirty="0" err="1"/>
              <a:t>naar</a:t>
            </a:r>
            <a:r>
              <a:rPr lang="en-US" sz="2531" b="1" dirty="0"/>
              <a:t> waardegedreven </a:t>
            </a:r>
            <a:r>
              <a:rPr lang="en-US" sz="2531" b="1" dirty="0" err="1"/>
              <a:t>zorg</a:t>
            </a:r>
            <a:endParaRPr lang="nl-NL" sz="2531" b="1" dirty="0"/>
          </a:p>
        </p:txBody>
      </p:sp>
    </p:spTree>
    <p:extLst>
      <p:ext uri="{BB962C8B-B14F-4D97-AF65-F5344CB8AC3E}">
        <p14:creationId xmlns:p14="http://schemas.microsoft.com/office/powerpoint/2010/main" val="82193280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3797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err="1"/>
              <a:t>Advies</a:t>
            </a:r>
            <a:r>
              <a:rPr lang="en-US" dirty="0"/>
              <a:t> Linnean </a:t>
            </a:r>
            <a:r>
              <a:rPr lang="en-US" dirty="0" err="1"/>
              <a:t>werkgroep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7"/>
          <a:srcRect l="30315" t="141" r="30598" b="712"/>
          <a:stretch/>
        </p:blipFill>
        <p:spPr>
          <a:xfrm>
            <a:off x="1645297" y="2046273"/>
            <a:ext cx="2429561" cy="3466490"/>
          </a:xfrm>
          <a:prstGeom prst="rect">
            <a:avLst/>
          </a:prstGeom>
        </p:spPr>
      </p:pic>
      <p:sp>
        <p:nvSpPr>
          <p:cNvPr id="7" name="Tekstvak 6"/>
          <p:cNvSpPr txBox="1"/>
          <p:nvPr/>
        </p:nvSpPr>
        <p:spPr>
          <a:xfrm>
            <a:off x="4572000" y="2240941"/>
            <a:ext cx="3110108" cy="27794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defTabSz="308063" hangingPunct="0">
              <a:defRPr/>
            </a:pPr>
            <a:r>
              <a:rPr lang="nl-NL" sz="1265" kern="0" dirty="0">
                <a:solidFill>
                  <a:srgbClr val="000000"/>
                </a:solidFill>
                <a:latin typeface="Helvetica Neue"/>
                <a:sym typeface="Helvetica Neue"/>
              </a:rPr>
              <a:t>Voor een brede adoptie van waardegedreven zorg is het belangrijk dat de mensen in de zorg elkaar begrijpen, dezelfde taal spreken en aan dezelfde doelen werken. </a:t>
            </a:r>
            <a:endParaRPr lang="en-US" sz="1265" kern="0" dirty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endParaRPr lang="nl-NL" sz="1265" kern="0" dirty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r>
              <a:rPr lang="nl-NL" sz="1265" kern="0" dirty="0">
                <a:solidFill>
                  <a:srgbClr val="000000"/>
                </a:solidFill>
                <a:latin typeface="Helvetica Neue"/>
                <a:sym typeface="Helvetica Neue"/>
              </a:rPr>
              <a:t>Onderwijs en opleiding op het gebied</a:t>
            </a:r>
          </a:p>
          <a:p>
            <a:pPr defTabSz="308063" hangingPunct="0">
              <a:defRPr/>
            </a:pPr>
            <a:r>
              <a:rPr lang="nl-NL" sz="1265" kern="0" dirty="0">
                <a:solidFill>
                  <a:srgbClr val="000000"/>
                </a:solidFill>
                <a:latin typeface="Helvetica Neue"/>
                <a:sym typeface="Helvetica Neue"/>
              </a:rPr>
              <a:t>van WGZ zijn daarvoor onontbeerlijk. </a:t>
            </a:r>
            <a:endParaRPr lang="en-US" sz="1265" kern="0" dirty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endParaRPr lang="nl-NL" sz="1265" kern="0" dirty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r>
              <a:rPr lang="nl-NL" sz="1265" kern="0" dirty="0">
                <a:solidFill>
                  <a:srgbClr val="000000"/>
                </a:solidFill>
                <a:latin typeface="Helvetica Neue"/>
                <a:sym typeface="Helvetica Neue"/>
              </a:rPr>
              <a:t>De Linnean werkgroep Onderwijs &amp;</a:t>
            </a:r>
          </a:p>
          <a:p>
            <a:pPr defTabSz="308063" hangingPunct="0">
              <a:defRPr/>
            </a:pPr>
            <a:r>
              <a:rPr lang="nl-NL" sz="1265" kern="0" dirty="0">
                <a:solidFill>
                  <a:srgbClr val="000000"/>
                </a:solidFill>
                <a:latin typeface="Helvetica Neue"/>
                <a:sym typeface="Helvetica Neue"/>
              </a:rPr>
              <a:t>Opleiden geeft vier adviezen (vooralsnog beperkt tot zorgverleners</a:t>
            </a:r>
            <a:r>
              <a:rPr lang="nl-NL" sz="1265" kern="0" dirty="0" smtClean="0">
                <a:solidFill>
                  <a:srgbClr val="000000"/>
                </a:solidFill>
                <a:latin typeface="Helvetica Neue"/>
                <a:sym typeface="Helvetica Neue"/>
              </a:rPr>
              <a:t>).</a:t>
            </a:r>
            <a:endParaRPr lang="nl-NL" sz="1265" kern="0" dirty="0" smtClean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endParaRPr lang="nl-NL" sz="1265" kern="0" dirty="0" smtClean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endParaRPr lang="nl-NL" sz="1265" kern="0" dirty="0" smtClea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349109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>
                <a:defRPr/>
              </a:pPr>
              <a:t>2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b="1" dirty="0" smtClean="0"/>
              <a:t>Welkom – Willem Jan Bos</a:t>
            </a:r>
            <a:endParaRPr lang="nl-NL" sz="1050" b="1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</a:t>
            </a:r>
            <a:r>
              <a:rPr lang="nl-NL" sz="1050" dirty="0" smtClean="0"/>
              <a:t>– 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41017952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4219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/>
              <a:t>Advies</a:t>
            </a:r>
            <a:r>
              <a:rPr lang="en-US" dirty="0"/>
              <a:t> 1</a:t>
            </a:r>
            <a:endParaRPr lang="nl-NL" dirty="0"/>
          </a:p>
        </p:txBody>
      </p:sp>
      <p:grpSp>
        <p:nvGrpSpPr>
          <p:cNvPr id="11" name="Groep 8"/>
          <p:cNvGrpSpPr>
            <a:grpSpLocks/>
          </p:cNvGrpSpPr>
          <p:nvPr/>
        </p:nvGrpSpPr>
        <p:grpSpPr bwMode="auto">
          <a:xfrm>
            <a:off x="908773" y="1919290"/>
            <a:ext cx="7402650" cy="3445762"/>
            <a:chOff x="929054" y="2672862"/>
            <a:chExt cx="11123246" cy="5214509"/>
          </a:xfrm>
        </p:grpSpPr>
        <p:pic>
          <p:nvPicPr>
            <p:cNvPr id="12" name="Afbeelding 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9054" y="3292354"/>
              <a:ext cx="11123246" cy="45950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hthoek 12"/>
            <p:cNvSpPr/>
            <p:nvPr/>
          </p:nvSpPr>
          <p:spPr>
            <a:xfrm>
              <a:off x="5767754" y="2672862"/>
              <a:ext cx="1846384" cy="1459523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50800" tIns="50800" rIns="50800" bIns="50800" spcCol="38100" anchor="ctr">
              <a:spAutoFit/>
            </a:bodyPr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 sz="2200" b="0" kern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4" name="Rechthoek 13"/>
            <p:cNvSpPr/>
            <p:nvPr/>
          </p:nvSpPr>
          <p:spPr>
            <a:xfrm>
              <a:off x="7332785" y="3292354"/>
              <a:ext cx="3651738" cy="469899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50800" tIns="50800" rIns="50800" bIns="50800" spcCol="38100" anchor="ctr">
              <a:spAutoFit/>
            </a:bodyPr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 sz="2200" b="0" kern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24831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Aandachtspunten</a:t>
            </a:r>
            <a:r>
              <a:rPr lang="en-US" dirty="0"/>
              <a:t> </a:t>
            </a:r>
            <a:r>
              <a:rPr lang="en-US" dirty="0" err="1"/>
              <a:t>opleiding</a:t>
            </a:r>
            <a:r>
              <a:rPr lang="en-US" dirty="0"/>
              <a:t>/</a:t>
            </a:r>
            <a:r>
              <a:rPr lang="en-US" dirty="0" err="1"/>
              <a:t>scholing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685800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 defTabSz="685800">
                <a:defRPr/>
              </a:pPr>
              <a:t>21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WGZ is multidisciplinair en transmuraal</a:t>
            </a:r>
          </a:p>
          <a:p>
            <a:pPr marL="600075" lvl="1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 err="1">
                <a:latin typeface="Times New Roman" panose="02020603050405020304" pitchFamily="18" charset="0"/>
              </a:rPr>
              <a:t>Para-medici</a:t>
            </a:r>
            <a:r>
              <a:rPr lang="nl-NL" sz="1500" dirty="0">
                <a:latin typeface="Times New Roman" panose="02020603050405020304" pitchFamily="18" charset="0"/>
              </a:rPr>
              <a:t>, verpleegkundigen, medici</a:t>
            </a:r>
          </a:p>
          <a:p>
            <a:pPr marL="600075" lvl="1" indent="-257175">
              <a:lnSpc>
                <a:spcPct val="150000"/>
              </a:lnSpc>
              <a:buFont typeface="+mj-lt"/>
              <a:buAutoNum type="arabicPeriod"/>
            </a:pPr>
            <a:endParaRPr lang="nl-NL" sz="12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Basiscurriculum, vervolgopleiding, bij- en </a:t>
            </a:r>
            <a:r>
              <a:rPr lang="nl-NL" sz="1500" dirty="0" smtClean="0">
                <a:latin typeface="Times New Roman" panose="02020603050405020304" pitchFamily="18" charset="0"/>
              </a:rPr>
              <a:t>nascholing</a:t>
            </a: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3729515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LINNEAN_PRESENTATIE_SLIDES4.jpg" descr="LINNEAN_PRESENTATIE_SLIDES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1" y="0"/>
            <a:ext cx="913971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32" name="Om het gebruik van uitkomsten…"/>
          <p:cNvSpPr txBox="1">
            <a:spLocks noGrp="1"/>
          </p:cNvSpPr>
          <p:nvPr>
            <p:ph type="title"/>
          </p:nvPr>
        </p:nvSpPr>
        <p:spPr>
          <a:xfrm>
            <a:off x="2455790" y="1746094"/>
            <a:ext cx="5104736" cy="278595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 defTabSz="321457">
              <a:lnSpc>
                <a:spcPct val="120000"/>
              </a:lnSpc>
              <a:defRPr sz="3150">
                <a:solidFill>
                  <a:srgbClr val="E967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400" dirty="0"/>
              <a:t/>
            </a:r>
            <a:br>
              <a:rPr lang="nl-NL" sz="2400" dirty="0"/>
            </a:br>
            <a:r>
              <a:rPr lang="nl-NL" sz="2400" dirty="0" smtClean="0"/>
              <a:t>De mensen die WGZ-onderwijs hebben gegeven of ontvangen, was dit in het basiscurriculum, de vervolgopleidingen of bij </a:t>
            </a:r>
            <a:r>
              <a:rPr lang="nl-NL" sz="2400" dirty="0" err="1" smtClean="0"/>
              <a:t>bij</a:t>
            </a:r>
            <a:r>
              <a:rPr lang="nl-NL" sz="2400" dirty="0" smtClean="0"/>
              <a:t>- en nascholingen?</a:t>
            </a:r>
            <a:endParaRPr sz="2400" dirty="0"/>
          </a:p>
        </p:txBody>
      </p:sp>
      <p:sp>
        <p:nvSpPr>
          <p:cNvPr id="3" name="Rechthoek 2"/>
          <p:cNvSpPr/>
          <p:nvPr/>
        </p:nvSpPr>
        <p:spPr>
          <a:xfrm>
            <a:off x="2784684" y="1415944"/>
            <a:ext cx="3204723" cy="38418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Vraag aan deelnemers</a:t>
            </a: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Antwoord in chat!</a:t>
            </a:r>
            <a:endParaRPr lang="en-US" sz="1687" b="1" kern="0" dirty="0">
              <a:solidFill>
                <a:srgbClr val="E9675F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083610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ep 6"/>
          <p:cNvGrpSpPr>
            <a:grpSpLocks/>
          </p:cNvGrpSpPr>
          <p:nvPr/>
        </p:nvGrpSpPr>
        <p:grpSpPr bwMode="auto">
          <a:xfrm>
            <a:off x="1909984" y="1015426"/>
            <a:ext cx="7014485" cy="5579428"/>
            <a:chOff x="1670538" y="1863969"/>
            <a:chExt cx="8985740" cy="7146526"/>
          </a:xfrm>
        </p:grpSpPr>
        <p:pic>
          <p:nvPicPr>
            <p:cNvPr id="9" name="Afbeelding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3358" y="2150085"/>
              <a:ext cx="8792920" cy="6860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hthoek 9"/>
            <p:cNvSpPr/>
            <p:nvPr/>
          </p:nvSpPr>
          <p:spPr>
            <a:xfrm>
              <a:off x="1670538" y="1863969"/>
              <a:ext cx="773724" cy="1248508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50800" tIns="50800" rIns="50800" bIns="50800" spcCol="38100" anchor="ctr">
              <a:spAutoFit/>
            </a:bodyPr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 sz="2200" b="0" kern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</p:grp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282" imgH="254" progId="TCLayout.ActiveDocument.1">
                  <p:embed/>
                </p:oleObj>
              </mc:Choice>
              <mc:Fallback>
                <p:oleObj name="think-cell Slide" r:id="rId6" imgW="282" imgH="25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4219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/>
              <a:t>Advies</a:t>
            </a:r>
            <a:r>
              <a:rPr lang="en-US" dirty="0"/>
              <a:t> 2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372118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rincipes</a:t>
            </a:r>
            <a:r>
              <a:rPr lang="en-US" dirty="0"/>
              <a:t> (in het </a:t>
            </a:r>
            <a:r>
              <a:rPr lang="en-US" dirty="0" err="1"/>
              <a:t>kort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685800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 defTabSz="685800">
                <a:defRPr/>
              </a:pPr>
              <a:t>24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Patiënt </a:t>
            </a:r>
            <a:r>
              <a:rPr lang="nl-NL" sz="1500" dirty="0" smtClean="0">
                <a:latin typeface="Times New Roman" panose="02020603050405020304" pitchFamily="18" charset="0"/>
              </a:rPr>
              <a:t>– en naaste – in </a:t>
            </a:r>
            <a:r>
              <a:rPr lang="nl-NL" sz="1500" dirty="0">
                <a:latin typeface="Times New Roman" panose="02020603050405020304" pitchFamily="18" charset="0"/>
              </a:rPr>
              <a:t>zorgpad (IPU) staat centraal</a:t>
            </a: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Waarde: uitkomsten in relatie tot kosten over gehele zorgcyclus</a:t>
            </a: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Gezondheidsuitkomsten die ertoe doen voor de </a:t>
            </a:r>
            <a:r>
              <a:rPr lang="nl-NL" sz="1500" dirty="0" smtClean="0">
                <a:latin typeface="Times New Roman" panose="02020603050405020304" pitchFamily="18" charset="0"/>
              </a:rPr>
              <a:t>patiënt </a:t>
            </a:r>
            <a:r>
              <a:rPr lang="nl-NL" sz="1500" dirty="0">
                <a:latin typeface="Times New Roman" panose="02020603050405020304" pitchFamily="18" charset="0"/>
              </a:rPr>
              <a:t>en waarop </a:t>
            </a:r>
            <a:r>
              <a:rPr lang="nl-NL" sz="1500" dirty="0" smtClean="0">
                <a:latin typeface="Times New Roman" panose="02020603050405020304" pitchFamily="18" charset="0"/>
              </a:rPr>
              <a:t>medisch kan </a:t>
            </a:r>
            <a:r>
              <a:rPr lang="nl-NL" sz="1500" dirty="0">
                <a:latin typeface="Times New Roman" panose="02020603050405020304" pitchFamily="18" charset="0"/>
              </a:rPr>
              <a:t>worden gestuurd</a:t>
            </a: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3380369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mplementatie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685800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 defTabSz="685800">
                <a:defRPr/>
              </a:pPr>
              <a:t>25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Veel aspecten, zoals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Organisatie in </a:t>
            </a:r>
            <a:r>
              <a:rPr lang="nl-NL" sz="1500" dirty="0" err="1">
                <a:latin typeface="Times New Roman" panose="02020603050405020304" pitchFamily="18" charset="0"/>
              </a:rPr>
              <a:t>IPUs</a:t>
            </a:r>
            <a:r>
              <a:rPr lang="nl-NL" sz="1500" dirty="0">
                <a:latin typeface="Times New Roman" panose="02020603050405020304" pitchFamily="18" charset="0"/>
              </a:rPr>
              <a:t>/zorgpaden en organisatie sturing (ICT, dashboard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Meten uitkomste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Samen beslissen met de </a:t>
            </a:r>
            <a:r>
              <a:rPr lang="nl-NL" sz="1500" dirty="0" err="1">
                <a:latin typeface="Times New Roman" panose="02020603050405020304" pitchFamily="18" charset="0"/>
              </a:rPr>
              <a:t>patient</a:t>
            </a: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Contracteer op basis van waarde (in ontwikkeling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 err="1">
                <a:latin typeface="Times New Roman" panose="02020603050405020304" pitchFamily="18" charset="0"/>
              </a:rPr>
              <a:t>Etc</a:t>
            </a:r>
            <a:r>
              <a:rPr lang="nl-NL" sz="1500" dirty="0">
                <a:latin typeface="Times New Roman" panose="02020603050405020304" pitchFamily="18" charset="0"/>
              </a:rPr>
              <a:t> </a:t>
            </a:r>
            <a:r>
              <a:rPr lang="nl-NL" sz="1500" dirty="0" err="1">
                <a:latin typeface="Times New Roman" panose="02020603050405020304" pitchFamily="18" charset="0"/>
              </a:rPr>
              <a:t>etc</a:t>
            </a: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91651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Randvoorwaarden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685800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 defTabSz="685800">
                <a:defRPr/>
              </a:pPr>
              <a:t>26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Leiderschap (medisch en verpleegkundig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Verandermanagemen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Data en I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nl-NL" sz="1500" dirty="0">
                <a:latin typeface="Times New Roman" panose="02020603050405020304" pitchFamily="18" charset="0"/>
              </a:rPr>
              <a:t>Kennis</a:t>
            </a: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83018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4219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/>
              <a:t>Advies</a:t>
            </a:r>
            <a:r>
              <a:rPr lang="en-US" dirty="0"/>
              <a:t> 3</a:t>
            </a:r>
            <a:endParaRPr lang="nl-NL" dirty="0"/>
          </a:p>
        </p:txBody>
      </p:sp>
      <p:grpSp>
        <p:nvGrpSpPr>
          <p:cNvPr id="9" name="Groep 14"/>
          <p:cNvGrpSpPr>
            <a:grpSpLocks/>
          </p:cNvGrpSpPr>
          <p:nvPr/>
        </p:nvGrpSpPr>
        <p:grpSpPr bwMode="auto">
          <a:xfrm>
            <a:off x="1698045" y="858088"/>
            <a:ext cx="6817305" cy="5608248"/>
            <a:chOff x="2623038" y="1503485"/>
            <a:chExt cx="9756531" cy="8025509"/>
          </a:xfrm>
        </p:grpSpPr>
        <p:pic>
          <p:nvPicPr>
            <p:cNvPr id="10" name="Afbeelding 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475"/>
            <a:stretch>
              <a:fillRect/>
            </a:stretch>
          </p:blipFill>
          <p:spPr bwMode="auto">
            <a:xfrm>
              <a:off x="2623038" y="2620108"/>
              <a:ext cx="9756531" cy="6908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hthoek 10"/>
            <p:cNvSpPr/>
            <p:nvPr/>
          </p:nvSpPr>
          <p:spPr>
            <a:xfrm>
              <a:off x="4624754" y="3921369"/>
              <a:ext cx="5503984" cy="1213339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spcFirstLastPara="1" lIns="50800" tIns="50800" rIns="50800" bIns="50800" spcCol="38100" anchor="ctr">
              <a:spAutoFit/>
            </a:bodyPr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 sz="2200" b="0" kern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pic>
          <p:nvPicPr>
            <p:cNvPr id="12" name="Afbeelding 1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08" t="3838" r="2776" b="12018"/>
            <a:stretch>
              <a:fillRect/>
            </a:stretch>
          </p:blipFill>
          <p:spPr bwMode="auto">
            <a:xfrm>
              <a:off x="5380892" y="1503485"/>
              <a:ext cx="4747846" cy="35345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587630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0600" y="1122417"/>
            <a:ext cx="7719295" cy="4485904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6" imgW="282" imgH="254" progId="TCLayout.ActiveDocument.1">
                  <p:embed/>
                </p:oleObj>
              </mc:Choice>
              <mc:Fallback>
                <p:oleObj name="think-cell Slide" r:id="rId6" imgW="282" imgH="25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4219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/>
              <a:t>Advies</a:t>
            </a:r>
            <a:r>
              <a:rPr lang="en-US" dirty="0"/>
              <a:t> 4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926266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4219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err="1" smtClean="0"/>
              <a:t>Adviezen</a:t>
            </a:r>
            <a:r>
              <a:rPr lang="en-US" dirty="0" smtClean="0"/>
              <a:t> 2, 3 </a:t>
            </a:r>
            <a:r>
              <a:rPr lang="en-US" dirty="0"/>
              <a:t>en </a:t>
            </a:r>
            <a:r>
              <a:rPr lang="en-US" dirty="0" smtClean="0"/>
              <a:t>4 </a:t>
            </a:r>
            <a:r>
              <a:rPr lang="en-US" dirty="0" err="1" smtClean="0"/>
              <a:t>gecombineerd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891" y="2185990"/>
            <a:ext cx="8618218" cy="238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8077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LINNEAN_PRESENTATIE_SLIDES4.jpg" descr="LINNEAN_PRESENTATIE_SLIDES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1" y="0"/>
            <a:ext cx="913971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32" name="Om het gebruik van uitkomsten…"/>
          <p:cNvSpPr txBox="1">
            <a:spLocks noGrp="1"/>
          </p:cNvSpPr>
          <p:nvPr>
            <p:ph type="title"/>
          </p:nvPr>
        </p:nvSpPr>
        <p:spPr>
          <a:xfrm>
            <a:off x="2455790" y="1746094"/>
            <a:ext cx="5104736" cy="278595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l" defTabSz="321457">
              <a:lnSpc>
                <a:spcPct val="120000"/>
              </a:lnSpc>
              <a:defRPr sz="3150">
                <a:solidFill>
                  <a:srgbClr val="E967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dirty="0"/>
              <a:t/>
            </a:r>
            <a:br>
              <a:rPr lang="nl-NL" dirty="0"/>
            </a:br>
            <a:r>
              <a:rPr lang="nl-NL" dirty="0"/>
              <a:t>Bent U zelf onderwezen in </a:t>
            </a:r>
            <a:r>
              <a:rPr lang="nl-NL" dirty="0" smtClean="0"/>
              <a:t>Waardegedreven </a:t>
            </a:r>
            <a:r>
              <a:rPr lang="nl-NL" dirty="0"/>
              <a:t>Zorg?</a:t>
            </a:r>
            <a:br>
              <a:rPr lang="nl-NL" dirty="0"/>
            </a:br>
            <a:r>
              <a:rPr lang="nl-NL" dirty="0"/>
              <a:t/>
            </a:r>
            <a:br>
              <a:rPr lang="nl-NL" dirty="0"/>
            </a:br>
            <a:r>
              <a:rPr lang="nl-NL" dirty="0"/>
              <a:t>Zo ja, waar / door wie?</a:t>
            </a:r>
            <a:endParaRPr dirty="0"/>
          </a:p>
        </p:txBody>
      </p:sp>
      <p:sp>
        <p:nvSpPr>
          <p:cNvPr id="3" name="Rechthoek 2"/>
          <p:cNvSpPr/>
          <p:nvPr/>
        </p:nvSpPr>
        <p:spPr>
          <a:xfrm>
            <a:off x="1966175" y="1415944"/>
            <a:ext cx="4726546" cy="45235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Vraag aan deelnemers</a:t>
            </a: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endParaRPr lang="nl-NL" sz="2215" b="1" kern="0" dirty="0">
              <a:solidFill>
                <a:srgbClr val="E9675F"/>
              </a:solidFill>
              <a:latin typeface="Helvetica Neue Medium"/>
              <a:sym typeface="Arial"/>
            </a:endParaRPr>
          </a:p>
          <a:p>
            <a:pPr algn="ctr" defTabSz="410751" hangingPunct="0"/>
            <a:r>
              <a:rPr lang="nl-NL" sz="2215" b="1" kern="0" dirty="0">
                <a:solidFill>
                  <a:srgbClr val="E9675F"/>
                </a:solidFill>
                <a:latin typeface="Helvetica Neue Medium"/>
                <a:sym typeface="Arial"/>
              </a:rPr>
              <a:t>Antwoord in chat!</a:t>
            </a:r>
            <a:endParaRPr lang="en-US" sz="1687" b="1" kern="0" dirty="0">
              <a:solidFill>
                <a:srgbClr val="E9675F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4448199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838" y="858088"/>
          <a:ext cx="838" cy="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5" imgW="282" imgH="254" progId="TCLayout.ActiveDocument.1">
                  <p:embed/>
                </p:oleObj>
              </mc:Choice>
              <mc:Fallback>
                <p:oleObj name="think-cell Slide" r:id="rId5" imgW="282" imgH="25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838" y="858088"/>
                        <a:ext cx="838" cy="8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>
            <p:custDataLst>
              <p:tags r:id="rId3"/>
            </p:custDataLst>
          </p:nvPr>
        </p:nvSpPr>
        <p:spPr>
          <a:xfrm>
            <a:off x="1157791" y="782790"/>
            <a:ext cx="54136" cy="23263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algn="ctr" defTabSz="308063" hangingPunct="0">
              <a:defRPr/>
            </a:pPr>
            <a:endParaRPr lang="en-US" sz="3797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err="1"/>
              <a:t>Advies</a:t>
            </a:r>
            <a:r>
              <a:rPr lang="en-US" dirty="0"/>
              <a:t> Linnean </a:t>
            </a:r>
            <a:r>
              <a:rPr lang="en-US" dirty="0" err="1"/>
              <a:t>werkgroep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7"/>
          <a:srcRect l="30315" t="141" r="30598" b="712"/>
          <a:stretch/>
        </p:blipFill>
        <p:spPr>
          <a:xfrm>
            <a:off x="1645297" y="2046273"/>
            <a:ext cx="2429561" cy="3466490"/>
          </a:xfrm>
          <a:prstGeom prst="rect">
            <a:avLst/>
          </a:prstGeom>
        </p:spPr>
      </p:pic>
      <p:sp>
        <p:nvSpPr>
          <p:cNvPr id="7" name="Tekstvak 6"/>
          <p:cNvSpPr txBox="1"/>
          <p:nvPr/>
        </p:nvSpPr>
        <p:spPr>
          <a:xfrm>
            <a:off x="4572000" y="3311619"/>
            <a:ext cx="3110108" cy="6381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defTabSz="308063" hangingPunct="0">
              <a:defRPr/>
            </a:pPr>
            <a:endParaRPr lang="nl-NL" sz="1265" kern="0" dirty="0">
              <a:solidFill>
                <a:srgbClr val="000000"/>
              </a:solidFill>
              <a:latin typeface="Helvetica Neue"/>
              <a:sym typeface="Helvetica Neue"/>
            </a:endParaRPr>
          </a:p>
          <a:p>
            <a:pPr defTabSz="308063" hangingPunct="0">
              <a:defRPr/>
            </a:pPr>
            <a:r>
              <a:rPr lang="nl-NL" sz="1265" kern="0" dirty="0" smtClean="0">
                <a:solidFill>
                  <a:srgbClr val="000000"/>
                </a:solidFill>
                <a:latin typeface="Helvetica Neue"/>
                <a:sym typeface="Helvetica Neue"/>
              </a:rPr>
              <a:t>Download </a:t>
            </a:r>
            <a:r>
              <a:rPr lang="nl-NL" sz="1265" kern="0" dirty="0" smtClean="0">
                <a:solidFill>
                  <a:srgbClr val="000000"/>
                </a:solidFill>
                <a:latin typeface="Helvetica Neue"/>
                <a:sym typeface="Helvetica Neue"/>
                <a:hlinkClick r:id="rId8"/>
              </a:rPr>
              <a:t>hier</a:t>
            </a:r>
            <a:r>
              <a:rPr lang="nl-NL" sz="1265" kern="0" dirty="0" smtClean="0">
                <a:solidFill>
                  <a:srgbClr val="000000"/>
                </a:solidFill>
                <a:latin typeface="Helvetica Neue"/>
                <a:sym typeface="Helvetica Neue"/>
              </a:rPr>
              <a:t> de paper. </a:t>
            </a:r>
          </a:p>
          <a:p>
            <a:pPr defTabSz="308063" hangingPunct="0">
              <a:defRPr/>
            </a:pPr>
            <a:endParaRPr lang="nl-NL" sz="1265" kern="0" dirty="0" smtClean="0">
              <a:solidFill>
                <a:srgbClr val="000000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26464591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onde Tafel 20 </a:t>
            </a:r>
            <a:r>
              <a:rPr lang="en-US" dirty="0" err="1"/>
              <a:t>mei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>
                <a:defRPr/>
              </a:pPr>
              <a:t>31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Breed palet aan stakeholders aan boord. Reacties op het advies:</a:t>
            </a:r>
          </a:p>
          <a:p>
            <a:pPr>
              <a:lnSpc>
                <a:spcPct val="150000"/>
              </a:lnSpc>
            </a:pPr>
            <a:r>
              <a:rPr lang="nl-NL" sz="1500" dirty="0">
                <a:latin typeface="Times New Roman" panose="02020603050405020304" pitchFamily="18" charset="0"/>
              </a:rPr>
              <a:t>Zorg dat de verpleegkundigen aangehaakt worden/blijven! En zorg voor eenheid van taal.</a:t>
            </a:r>
          </a:p>
          <a:p>
            <a:pPr>
              <a:lnSpc>
                <a:spcPct val="150000"/>
              </a:lnSpc>
            </a:pPr>
            <a:r>
              <a:rPr lang="nl-NL" sz="1500" dirty="0">
                <a:latin typeface="Times New Roman" panose="02020603050405020304" pitchFamily="18" charset="0"/>
              </a:rPr>
              <a:t>Veel wordt al onderwezen, maak daar gebruik van! Dit is de moderne gezondheidszorg – doelmatigheid, interprofessioneel werken, </a:t>
            </a:r>
            <a:r>
              <a:rPr lang="nl-NL" sz="1500" dirty="0" err="1">
                <a:latin typeface="Times New Roman" panose="02020603050405020304" pitchFamily="18" charset="0"/>
              </a:rPr>
              <a:t>patient</a:t>
            </a:r>
            <a:r>
              <a:rPr lang="nl-NL" sz="1500" dirty="0">
                <a:latin typeface="Times New Roman" panose="02020603050405020304" pitchFamily="18" charset="0"/>
              </a:rPr>
              <a:t> </a:t>
            </a:r>
            <a:r>
              <a:rPr lang="nl-NL" sz="1500" dirty="0" smtClean="0">
                <a:latin typeface="Times New Roman" panose="02020603050405020304" pitchFamily="18" charset="0"/>
              </a:rPr>
              <a:t>centraal</a:t>
            </a:r>
            <a:r>
              <a:rPr lang="nl-NL" sz="1500" dirty="0">
                <a:latin typeface="Times New Roman" panose="02020603050405020304" pitchFamily="18" charset="0"/>
              </a:rPr>
              <a:t>.</a:t>
            </a:r>
            <a:endParaRPr lang="nl-NL" sz="1500" dirty="0">
              <a:latin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nl-NL" sz="1500" dirty="0">
                <a:latin typeface="Times New Roman" panose="02020603050405020304" pitchFamily="18" charset="0"/>
              </a:rPr>
              <a:t>Zorg voor </a:t>
            </a:r>
            <a:r>
              <a:rPr lang="nl-NL" sz="1500" dirty="0" smtClean="0">
                <a:latin typeface="Times New Roman" panose="02020603050405020304" pitchFamily="18" charset="0"/>
              </a:rPr>
              <a:t>ambassadeurs </a:t>
            </a:r>
            <a:r>
              <a:rPr lang="nl-NL" sz="1500" dirty="0">
                <a:latin typeface="Times New Roman" panose="02020603050405020304" pitchFamily="18" charset="0"/>
              </a:rPr>
              <a:t>en enthousiasmeer de opleiders</a:t>
            </a: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24671345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ie </a:t>
            </a:r>
            <a:r>
              <a:rPr lang="en-US" dirty="0" err="1"/>
              <a:t>wil</a:t>
            </a:r>
            <a:r>
              <a:rPr lang="en-US" dirty="0"/>
              <a:t> er met </a:t>
            </a:r>
            <a:r>
              <a:rPr lang="en-US" dirty="0" err="1"/>
              <a:t>ons</a:t>
            </a:r>
            <a:r>
              <a:rPr lang="en-US" dirty="0"/>
              <a:t> </a:t>
            </a:r>
            <a:r>
              <a:rPr lang="en-US" dirty="0" err="1"/>
              <a:t>aan</a:t>
            </a:r>
            <a:r>
              <a:rPr lang="en-US" dirty="0"/>
              <a:t> de slag?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nl-NL" sz="750">
                <a:solidFill>
                  <a:srgbClr val="110E72"/>
                </a:solidFill>
                <a:latin typeface="CircularPro Book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051DF8-406B-5242-9A38-0E89485B35FF}" type="slidenum">
              <a:rPr lang="nl-NL" sz="675">
                <a:solidFill>
                  <a:srgbClr val="110E72"/>
                </a:solidFill>
                <a:latin typeface="CircularPro Book"/>
              </a:rPr>
              <a:pPr>
                <a:defRPr/>
              </a:pPr>
              <a:t>32</a:t>
            </a:fld>
            <a:endParaRPr lang="nl-NL" sz="675">
              <a:solidFill>
                <a:srgbClr val="110E72"/>
              </a:solidFill>
              <a:latin typeface="CircularPro Book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Als je interesse hebt, geef dit aan in de chat, of mail het naar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l-NL" sz="1500" dirty="0">
                <a:latin typeface="Times New Roman" panose="02020603050405020304" pitchFamily="18" charset="0"/>
              </a:rPr>
              <a:t>Matthijs </a:t>
            </a:r>
            <a:r>
              <a:rPr lang="nl-NL" sz="1500" dirty="0" smtClean="0">
                <a:latin typeface="Times New Roman" panose="02020603050405020304" pitchFamily="18" charset="0"/>
              </a:rPr>
              <a:t>van </a:t>
            </a:r>
            <a:r>
              <a:rPr lang="nl-NL" sz="1500" dirty="0">
                <a:latin typeface="Times New Roman" panose="02020603050405020304" pitchFamily="18" charset="0"/>
              </a:rPr>
              <a:t>der Linde: </a:t>
            </a:r>
            <a:r>
              <a:rPr lang="nl-NL" sz="1500" dirty="0">
                <a:latin typeface="Times New Roman" panose="02020603050405020304" pitchFamily="18" charset="0"/>
                <a:hlinkClick r:id="rId2"/>
              </a:rPr>
              <a:t>MLinde@zinl.nl</a:t>
            </a: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257175" indent="-257175">
              <a:lnSpc>
                <a:spcPct val="150000"/>
              </a:lnSpc>
              <a:buFont typeface="+mj-lt"/>
              <a:buAutoNum type="arabicPeriod"/>
            </a:pPr>
            <a:endParaRPr lang="nl-NL" sz="1500" dirty="0"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l-NL" sz="1500" dirty="0">
                <a:latin typeface="Times New Roman" panose="02020603050405020304" pitchFamily="18" charset="0"/>
              </a:rPr>
              <a:t/>
            </a:r>
            <a:br>
              <a:rPr lang="nl-NL" sz="1500" dirty="0">
                <a:latin typeface="Times New Roman" panose="02020603050405020304" pitchFamily="18" charset="0"/>
              </a:rPr>
            </a:b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38705688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– </a:t>
            </a:r>
            <a:r>
              <a:rPr lang="nl-NL" sz="1050" dirty="0" smtClean="0"/>
              <a:t>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b="1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1814817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itel 5"/>
          <p:cNvSpPr txBox="1">
            <a:spLocks noGrp="1"/>
          </p:cNvSpPr>
          <p:nvPr>
            <p:ph type="ctrTitle"/>
          </p:nvPr>
        </p:nvSpPr>
        <p:spPr>
          <a:xfrm>
            <a:off x="305990" y="2747811"/>
            <a:ext cx="7722395" cy="1296145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nl-NL" dirty="0"/>
              <a:t/>
            </a:r>
            <a:br>
              <a:rPr lang="nl-NL" dirty="0"/>
            </a:br>
            <a:r>
              <a:rPr lang="nl-NL" sz="3000" dirty="0"/>
              <a:t>Advanced Training Program </a:t>
            </a:r>
            <a:br>
              <a:rPr lang="nl-NL" sz="3000" dirty="0"/>
            </a:br>
            <a:r>
              <a:rPr lang="nl-NL" sz="3000" dirty="0"/>
              <a:t>Waardegedreven Zorg </a:t>
            </a:r>
            <a:endParaRPr sz="3000" dirty="0"/>
          </a:p>
        </p:txBody>
      </p:sp>
      <p:sp>
        <p:nvSpPr>
          <p:cNvPr id="145" name="Ondertitel 6"/>
          <p:cNvSpPr txBox="1">
            <a:spLocks noGrp="1"/>
          </p:cNvSpPr>
          <p:nvPr>
            <p:ph type="subTitle" sz="quarter" idx="1"/>
          </p:nvPr>
        </p:nvSpPr>
        <p:spPr>
          <a:xfrm>
            <a:off x="305991" y="4288570"/>
            <a:ext cx="7720463" cy="631237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  <a:p>
            <a:r>
              <a:rPr lang="nl-NL" sz="1800" dirty="0"/>
              <a:t>Kees Ahaus, 8 juni 2021</a:t>
            </a:r>
            <a:endParaRPr sz="1800" dirty="0"/>
          </a:p>
        </p:txBody>
      </p:sp>
      <p:sp>
        <p:nvSpPr>
          <p:cNvPr id="146" name="Tijdelijke aanduiding voor dianummer 3"/>
          <p:cNvSpPr txBox="1">
            <a:spLocks noGrp="1"/>
          </p:cNvSpPr>
          <p:nvPr>
            <p:ph type="sldNum" sz="quarter" idx="2"/>
          </p:nvPr>
        </p:nvSpPr>
        <p:spPr>
          <a:xfrm>
            <a:off x="8943379" y="6988757"/>
            <a:ext cx="95251" cy="9525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pPr defTabSz="685800" hangingPunct="0"/>
            <a:fld id="{86CB4B4D-7CA3-9044-876B-883B54F8677D}" type="slidenum">
              <a:rPr kern="0">
                <a:latin typeface="Calibri"/>
                <a:cs typeface="Calibri"/>
                <a:sym typeface="Calibri"/>
              </a:rPr>
              <a:pPr defTabSz="685800" hangingPunct="0"/>
              <a:t>34</a:t>
            </a:fld>
            <a:endParaRPr kern="0">
              <a:latin typeface="Calibri"/>
              <a:cs typeface="Calibri"/>
              <a:sym typeface="Calibri"/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1661" y="1060462"/>
            <a:ext cx="923624" cy="951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32047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C4E544-9E95-46FA-A33A-4260DF419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 &amp; doelgroep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D2C0D83-032D-4583-AD33-C89DBBCAC3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l-NL" b="1" dirty="0"/>
              <a:t>Doel</a:t>
            </a:r>
            <a:r>
              <a:rPr lang="nl-NL" dirty="0"/>
              <a:t>: 	zorgprofessionals een basis bieden bij de invoering van waardegedreven zorg</a:t>
            </a:r>
          </a:p>
          <a:p>
            <a:endParaRPr lang="nl-NL" dirty="0"/>
          </a:p>
          <a:p>
            <a:r>
              <a:rPr lang="nl-NL" b="1" dirty="0"/>
              <a:t>Doelgroep</a:t>
            </a:r>
            <a:r>
              <a:rPr lang="nl-NL" dirty="0"/>
              <a:t>:	zorgprofessionals die betrokken zijn bij invoering van </a:t>
            </a:r>
            <a:r>
              <a:rPr lang="nl-NL" dirty="0" err="1"/>
              <a:t>waardengedreven</a:t>
            </a:r>
            <a:r>
              <a:rPr lang="nl-NL" dirty="0"/>
              <a:t> zorg</a:t>
            </a:r>
          </a:p>
          <a:p>
            <a:endParaRPr lang="nl-NL" dirty="0"/>
          </a:p>
          <a:p>
            <a:r>
              <a:rPr lang="nl-NL" b="1" dirty="0"/>
              <a:t>Leerdoelen</a:t>
            </a:r>
            <a:r>
              <a:rPr lang="nl-NL" dirty="0"/>
              <a:t>: de deelnemer ontwikkelt kennis en vaardigheden over</a:t>
            </a:r>
          </a:p>
          <a:p>
            <a:pPr marL="342900" indent="-342900">
              <a:buAutoNum type="arabicPeriod"/>
            </a:pPr>
            <a:r>
              <a:rPr lang="nl-NL" dirty="0"/>
              <a:t>Het </a:t>
            </a:r>
            <a:r>
              <a:rPr lang="nl-NL" u="sng" dirty="0"/>
              <a:t>vormgeven</a:t>
            </a:r>
            <a:r>
              <a:rPr lang="nl-NL" dirty="0"/>
              <a:t> van </a:t>
            </a:r>
            <a:r>
              <a:rPr lang="nl-NL" dirty="0" err="1"/>
              <a:t>waardegedreven</a:t>
            </a:r>
            <a:r>
              <a:rPr lang="nl-NL" dirty="0"/>
              <a:t> zorg</a:t>
            </a:r>
          </a:p>
          <a:p>
            <a:pPr marL="342900" indent="-342900">
              <a:buAutoNum type="arabicPeriod"/>
            </a:pPr>
            <a:r>
              <a:rPr lang="nl-NL" u="sng" dirty="0"/>
              <a:t>Interprofessioneel werken </a:t>
            </a:r>
            <a:r>
              <a:rPr lang="nl-NL" dirty="0"/>
              <a:t>en leren in de praktijk</a:t>
            </a:r>
          </a:p>
          <a:p>
            <a:pPr marL="342900" indent="-342900">
              <a:buAutoNum type="arabicPeriod"/>
            </a:pPr>
            <a:r>
              <a:rPr lang="nl-NL" dirty="0"/>
              <a:t>Veranderprocessen en </a:t>
            </a:r>
            <a:r>
              <a:rPr lang="nl-NL" u="sng" dirty="0"/>
              <a:t>implementatie</a:t>
            </a:r>
          </a:p>
          <a:p>
            <a:pPr marL="342900" indent="-342900">
              <a:buAutoNum type="arabicPeriod"/>
            </a:pPr>
            <a:r>
              <a:rPr lang="nl-NL" u="sng" dirty="0"/>
              <a:t>Continu leren </a:t>
            </a:r>
            <a:r>
              <a:rPr lang="nl-NL" dirty="0"/>
              <a:t>op basis van data uit eigen huis en in netwerk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CD245BB-5030-4A30-BE1C-41C4F8D2EE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5673298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10EA0F-C82A-4864-8F9B-706001E46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an theorie naar praktijk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6A0E828-F2E7-4893-9DFF-0DB73AE65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hangingPunct="0"/>
            <a:fld id="{1740E48E-4BDA-400B-9751-CE0FDCD52CC3}" type="slidenum">
              <a:rPr lang="nl-NL" kern="0">
                <a:latin typeface="Calibri"/>
                <a:cs typeface="Calibri"/>
                <a:sym typeface="Calibri"/>
              </a:rPr>
              <a:pPr defTabSz="685800" hangingPunct="0"/>
              <a:t>36</a:t>
            </a:fld>
            <a:endParaRPr lang="nl-NL" kern="0" dirty="0">
              <a:latin typeface="Calibri"/>
              <a:cs typeface="Calibri"/>
              <a:sym typeface="Calibri"/>
            </a:endParaRP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EAD878F4-CFB7-43D6-8F88-5B42A3C441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 err="1"/>
              <a:t>Blended</a:t>
            </a:r>
            <a:r>
              <a:rPr lang="nl-NL" dirty="0"/>
              <a:t> </a:t>
            </a:r>
            <a:r>
              <a:rPr lang="nl-NL" dirty="0" err="1"/>
              <a:t>learning</a:t>
            </a:r>
            <a:r>
              <a:rPr lang="nl-NL" dirty="0"/>
              <a:t> – sociaal leren </a:t>
            </a:r>
            <a:br>
              <a:rPr lang="nl-NL" dirty="0"/>
            </a:br>
            <a:r>
              <a:rPr lang="nl-NL" dirty="0"/>
              <a:t>(interactie en samen creëren van kennis)</a:t>
            </a:r>
          </a:p>
        </p:txBody>
      </p:sp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90FCB50C-9A81-44B1-98E8-37CFBA9B5863}"/>
              </a:ext>
            </a:extLst>
          </p:cNvPr>
          <p:cNvSpPr/>
          <p:nvPr/>
        </p:nvSpPr>
        <p:spPr>
          <a:xfrm>
            <a:off x="314325" y="2868259"/>
            <a:ext cx="2646201" cy="383084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r" defTabSz="685800" hangingPunct="0"/>
            <a:r>
              <a:rPr lang="nl-NL" sz="1650" b="1" kern="0" dirty="0">
                <a:solidFill>
                  <a:srgbClr val="FFFFFF"/>
                </a:solidFill>
                <a:latin typeface="Helvetica"/>
                <a:cs typeface="Calibri"/>
                <a:sym typeface="Calibri"/>
              </a:rPr>
              <a:t>4 x E-</a:t>
            </a:r>
            <a:r>
              <a:rPr lang="nl-NL" sz="1650" b="1" kern="0" dirty="0" err="1">
                <a:solidFill>
                  <a:srgbClr val="FFFFFF"/>
                </a:solidFill>
                <a:latin typeface="Helvetica"/>
                <a:cs typeface="Calibri"/>
                <a:sym typeface="Calibri"/>
              </a:rPr>
              <a:t>learning</a:t>
            </a:r>
            <a:endParaRPr lang="nl-NL" sz="1650" b="1" kern="0" dirty="0">
              <a:solidFill>
                <a:srgbClr val="FFFFFF"/>
              </a:solidFill>
              <a:latin typeface="Helvetica"/>
              <a:cs typeface="Calibri"/>
              <a:sym typeface="Calibri"/>
            </a:endParaRPr>
          </a:p>
        </p:txBody>
      </p:sp>
      <p:sp>
        <p:nvSpPr>
          <p:cNvPr id="6" name="Rechthoek: afgeronde hoeken 5">
            <a:extLst>
              <a:ext uri="{FF2B5EF4-FFF2-40B4-BE49-F238E27FC236}">
                <a16:creationId xmlns:a16="http://schemas.microsoft.com/office/drawing/2014/main" id="{5F2B8233-6C41-4847-BA21-751C54AA4ECB}"/>
              </a:ext>
            </a:extLst>
          </p:cNvPr>
          <p:cNvSpPr/>
          <p:nvPr/>
        </p:nvSpPr>
        <p:spPr>
          <a:xfrm>
            <a:off x="314325" y="3442643"/>
            <a:ext cx="2646201" cy="383084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r" defTabSz="685800" hangingPunct="0"/>
            <a:r>
              <a:rPr lang="nl-NL" sz="1650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Theorie &amp; voorbeelden</a:t>
            </a:r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952E98D9-E00D-4CAA-8D2D-C08FEE542922}"/>
              </a:ext>
            </a:extLst>
          </p:cNvPr>
          <p:cNvSpPr/>
          <p:nvPr/>
        </p:nvSpPr>
        <p:spPr>
          <a:xfrm>
            <a:off x="314325" y="4017028"/>
            <a:ext cx="2646201" cy="383084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r" defTabSz="685800" hangingPunct="0"/>
            <a:r>
              <a:rPr lang="nl-NL" sz="1650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Interactie online</a:t>
            </a:r>
          </a:p>
        </p:txBody>
      </p:sp>
      <p:sp>
        <p:nvSpPr>
          <p:cNvPr id="8" name="Gelijkbenige driehoek 7">
            <a:extLst>
              <a:ext uri="{FF2B5EF4-FFF2-40B4-BE49-F238E27FC236}">
                <a16:creationId xmlns:a16="http://schemas.microsoft.com/office/drawing/2014/main" id="{725AD1E6-A1CF-434F-AEEB-B6ED2FB4BF57}"/>
              </a:ext>
            </a:extLst>
          </p:cNvPr>
          <p:cNvSpPr/>
          <p:nvPr/>
        </p:nvSpPr>
        <p:spPr>
          <a:xfrm rot="5400000">
            <a:off x="3214642" y="2881545"/>
            <a:ext cx="383084" cy="35651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endParaRPr lang="nl-NL" sz="1350" kern="0" dirty="0">
              <a:solidFill>
                <a:srgbClr val="373737"/>
              </a:solidFill>
              <a:latin typeface="Helvetica"/>
              <a:cs typeface="Calibri"/>
              <a:sym typeface="Calibri"/>
            </a:endParaRPr>
          </a:p>
        </p:txBody>
      </p:sp>
      <p:sp>
        <p:nvSpPr>
          <p:cNvPr id="9" name="Gelijkbenige driehoek 8">
            <a:extLst>
              <a:ext uri="{FF2B5EF4-FFF2-40B4-BE49-F238E27FC236}">
                <a16:creationId xmlns:a16="http://schemas.microsoft.com/office/drawing/2014/main" id="{5B75BA5C-6A18-424B-AFC2-6A5F840F2E6B}"/>
              </a:ext>
            </a:extLst>
          </p:cNvPr>
          <p:cNvSpPr/>
          <p:nvPr/>
        </p:nvSpPr>
        <p:spPr>
          <a:xfrm rot="5400000">
            <a:off x="3214642" y="3455929"/>
            <a:ext cx="383084" cy="35651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endParaRPr lang="nl-NL" sz="1350" kern="0" dirty="0">
              <a:solidFill>
                <a:srgbClr val="373737"/>
              </a:solidFill>
              <a:latin typeface="Helvetica"/>
              <a:cs typeface="Calibri"/>
              <a:sym typeface="Calibri"/>
            </a:endParaRPr>
          </a:p>
        </p:txBody>
      </p:sp>
      <p:sp>
        <p:nvSpPr>
          <p:cNvPr id="10" name="Gelijkbenige driehoek 9">
            <a:extLst>
              <a:ext uri="{FF2B5EF4-FFF2-40B4-BE49-F238E27FC236}">
                <a16:creationId xmlns:a16="http://schemas.microsoft.com/office/drawing/2014/main" id="{02F61662-AE9E-4C83-B966-8CD528AFF405}"/>
              </a:ext>
            </a:extLst>
          </p:cNvPr>
          <p:cNvSpPr/>
          <p:nvPr/>
        </p:nvSpPr>
        <p:spPr>
          <a:xfrm rot="5400000">
            <a:off x="3214642" y="4030313"/>
            <a:ext cx="383084" cy="35651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endParaRPr lang="nl-NL" sz="1350" kern="0" dirty="0">
              <a:solidFill>
                <a:srgbClr val="373737"/>
              </a:solidFill>
              <a:latin typeface="Helvetica"/>
              <a:cs typeface="Calibri"/>
              <a:sym typeface="Calibri"/>
            </a:endParaRPr>
          </a:p>
        </p:txBody>
      </p:sp>
      <p:sp>
        <p:nvSpPr>
          <p:cNvPr id="11" name="Rechthoek: afgeronde hoeken 10">
            <a:extLst>
              <a:ext uri="{FF2B5EF4-FFF2-40B4-BE49-F238E27FC236}">
                <a16:creationId xmlns:a16="http://schemas.microsoft.com/office/drawing/2014/main" id="{9065E76B-7818-4A1E-AC02-CED0D31DF6D4}"/>
              </a:ext>
            </a:extLst>
          </p:cNvPr>
          <p:cNvSpPr/>
          <p:nvPr/>
        </p:nvSpPr>
        <p:spPr>
          <a:xfrm>
            <a:off x="3851842" y="2868259"/>
            <a:ext cx="3699101" cy="383084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r>
              <a:rPr lang="nl-NL" sz="1650" b="1" kern="0" dirty="0">
                <a:solidFill>
                  <a:srgbClr val="FFFFFF"/>
                </a:solidFill>
                <a:latin typeface="Helvetica"/>
                <a:cs typeface="Calibri"/>
                <a:sym typeface="Calibri"/>
              </a:rPr>
              <a:t>4 x Bijeenkomst</a:t>
            </a:r>
          </a:p>
        </p:txBody>
      </p:sp>
      <p:sp>
        <p:nvSpPr>
          <p:cNvPr id="12" name="Rechthoek: afgeronde hoeken 11">
            <a:extLst>
              <a:ext uri="{FF2B5EF4-FFF2-40B4-BE49-F238E27FC236}">
                <a16:creationId xmlns:a16="http://schemas.microsoft.com/office/drawing/2014/main" id="{DA064783-C237-43B0-900B-3C968A4D0FAC}"/>
              </a:ext>
            </a:extLst>
          </p:cNvPr>
          <p:cNvSpPr/>
          <p:nvPr/>
        </p:nvSpPr>
        <p:spPr>
          <a:xfrm>
            <a:off x="3851842" y="3442643"/>
            <a:ext cx="3699101" cy="383084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r>
              <a:rPr lang="nl-NL" sz="1650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Toepassen in de praktijk</a:t>
            </a:r>
          </a:p>
        </p:txBody>
      </p:sp>
      <p:sp>
        <p:nvSpPr>
          <p:cNvPr id="13" name="Rechthoek: afgeronde hoeken 12">
            <a:extLst>
              <a:ext uri="{FF2B5EF4-FFF2-40B4-BE49-F238E27FC236}">
                <a16:creationId xmlns:a16="http://schemas.microsoft.com/office/drawing/2014/main" id="{7988AE7C-04DF-4213-9AC5-599D1BE54673}"/>
              </a:ext>
            </a:extLst>
          </p:cNvPr>
          <p:cNvSpPr/>
          <p:nvPr/>
        </p:nvSpPr>
        <p:spPr>
          <a:xfrm>
            <a:off x="3851842" y="4017028"/>
            <a:ext cx="3699101" cy="383084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defTabSz="685800" hangingPunct="0"/>
            <a:r>
              <a:rPr lang="nl-NL" sz="1650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Reflectie op eigen projec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7520A0-BD58-4FB3-9302-ACB82010900B}"/>
              </a:ext>
            </a:extLst>
          </p:cNvPr>
          <p:cNvSpPr txBox="1"/>
          <p:nvPr/>
        </p:nvSpPr>
        <p:spPr>
          <a:xfrm>
            <a:off x="314325" y="5010578"/>
            <a:ext cx="4716354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4289" tIns="34289" rIns="34289" bIns="34289" numCol="1" spcCol="38100" rtlCol="0" anchor="t">
            <a:spAutoFit/>
          </a:bodyPr>
          <a:lstStyle/>
          <a:p>
            <a:pPr defTabSz="685800" hangingPunct="0"/>
            <a:r>
              <a:rPr lang="nl-NL" sz="1350" kern="0" dirty="0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E-</a:t>
            </a:r>
            <a:r>
              <a:rPr lang="nl-NL" sz="1350" kern="0" dirty="0" err="1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learning</a:t>
            </a:r>
            <a:r>
              <a:rPr lang="nl-NL" sz="1350" kern="0" dirty="0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: animaties, interviews, </a:t>
            </a:r>
            <a:r>
              <a:rPr lang="nl-NL" sz="1350" kern="0" dirty="0" err="1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ppt</a:t>
            </a:r>
            <a:r>
              <a:rPr lang="nl-NL" sz="1350" kern="0" dirty="0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 met </a:t>
            </a:r>
            <a:r>
              <a:rPr lang="nl-NL" sz="1350" kern="0" dirty="0" err="1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voiceover</a:t>
            </a:r>
            <a:r>
              <a:rPr lang="nl-NL" sz="1350" kern="0" dirty="0">
                <a:solidFill>
                  <a:srgbClr val="373737"/>
                </a:solidFill>
                <a:latin typeface="Calibri"/>
                <a:ea typeface="+mj-ea"/>
                <a:cs typeface="Calibri"/>
                <a:sym typeface="Calibri"/>
              </a:rPr>
              <a:t>, voorbeelden</a:t>
            </a:r>
          </a:p>
        </p:txBody>
      </p:sp>
    </p:spTree>
    <p:extLst>
      <p:ext uri="{BB962C8B-B14F-4D97-AF65-F5344CB8AC3E}">
        <p14:creationId xmlns:p14="http://schemas.microsoft.com/office/powerpoint/2010/main" val="36553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A0084E1-A3DC-4C70-B808-28D60D89E8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5528"/>
            <a:ext cx="9144000" cy="4632729"/>
          </a:xfrm>
          <a:prstGeom prst="rect">
            <a:avLst/>
          </a:prstGeom>
        </p:spPr>
      </p:pic>
      <p:pic>
        <p:nvPicPr>
          <p:cNvPr id="13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05B2A57F-E8A4-4059-BF6C-D0266533AB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98" y="774624"/>
            <a:ext cx="8991962" cy="5143500"/>
          </a:xfrm>
          <a:prstGeom prst="rect">
            <a:avLst/>
          </a:prstGeom>
        </p:spPr>
      </p:pic>
      <p:pic>
        <p:nvPicPr>
          <p:cNvPr id="15" name="Picture 1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25CA7E95-03CF-4623-AE80-9DF1A27CD3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15" y="857250"/>
            <a:ext cx="877952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3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nderwerpen</a:t>
            </a: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hangingPunct="0"/>
            <a:fld id="{1740E48E-4BDA-400B-9751-CE0FDCD52CC3}" type="slidenum">
              <a:rPr lang="nl-NL" kern="0">
                <a:latin typeface="Calibri"/>
                <a:cs typeface="Calibri"/>
                <a:sym typeface="Calibri"/>
              </a:rPr>
              <a:pPr defTabSz="685800" hangingPunct="0"/>
              <a:t>38</a:t>
            </a:fld>
            <a:endParaRPr lang="nl-NL" kern="0" dirty="0">
              <a:latin typeface="Calibri"/>
              <a:cs typeface="Calibri"/>
              <a:sym typeface="Calibri"/>
            </a:endParaRPr>
          </a:p>
        </p:txBody>
      </p:sp>
      <p:sp>
        <p:nvSpPr>
          <p:cNvPr id="23" name="Tijdelijke aanduiding voor tekst 22">
            <a:extLst>
              <a:ext uri="{FF2B5EF4-FFF2-40B4-BE49-F238E27FC236}">
                <a16:creationId xmlns:a16="http://schemas.microsoft.com/office/drawing/2014/main" id="{424256CC-0737-43C8-9C98-47EAB311A3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4 modules</a:t>
            </a: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F96F14DC-4185-4A5A-AC67-E687A01E46E3}"/>
              </a:ext>
            </a:extLst>
          </p:cNvPr>
          <p:cNvGrpSpPr/>
          <p:nvPr/>
        </p:nvGrpSpPr>
        <p:grpSpPr>
          <a:xfrm>
            <a:off x="305991" y="1981397"/>
            <a:ext cx="1822226" cy="3526434"/>
            <a:chOff x="407988" y="1498863"/>
            <a:chExt cx="2387600" cy="4701912"/>
          </a:xfrm>
        </p:grpSpPr>
        <p:sp>
          <p:nvSpPr>
            <p:cNvPr id="7" name="AutoShape 12"/>
            <p:cNvSpPr>
              <a:spLocks noChangeArrowheads="1"/>
            </p:cNvSpPr>
            <p:nvPr/>
          </p:nvSpPr>
          <p:spPr bwMode="gray">
            <a:xfrm>
              <a:off x="407988" y="1498863"/>
              <a:ext cx="2387600" cy="990073"/>
            </a:xfrm>
            <a:prstGeom prst="chevron">
              <a:avLst>
                <a:gd name="adj" fmla="val 32374"/>
              </a:avLst>
            </a:prstGeom>
            <a:solidFill>
              <a:schemeClr val="accent1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27000" tIns="27000" rIns="27000" bIns="27000" anchor="ctr"/>
            <a:lstStyle/>
            <a:p>
              <a:pPr algn="ctr" defTabSz="685800" hangingPunct="0">
                <a:defRPr/>
              </a:pPr>
              <a:r>
                <a:rPr lang="nl-NL" sz="1350" kern="0" dirty="0" err="1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Waarde-Gedreven</a:t>
              </a:r>
              <a:r>
                <a:rPr lang="nl-NL" sz="1350" kern="0" dirty="0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 Zorg</a:t>
              </a:r>
            </a:p>
          </p:txBody>
        </p:sp>
        <p:sp>
          <p:nvSpPr>
            <p:cNvPr id="15" name="Tijdelijke aanduiding voor inhoud 20"/>
            <p:cNvSpPr txBox="1">
              <a:spLocks/>
            </p:cNvSpPr>
            <p:nvPr/>
          </p:nvSpPr>
          <p:spPr>
            <a:xfrm>
              <a:off x="407988" y="2664083"/>
              <a:ext cx="2244327" cy="3536692"/>
            </a:xfrm>
            <a:prstGeom prst="rect">
              <a:avLst/>
            </a:prstGeom>
          </p:spPr>
          <p:txBody>
            <a:bodyPr/>
            <a:lstStyle>
              <a:lvl1pPr marL="182563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355600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6302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803275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9858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Wat is WGZ?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Casus Turner syndroom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Veronderstellingen WGZ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Verbeterproces en implementatie volgens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Splain</a:t>
              </a: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b="1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Huiswerk: </a:t>
              </a:r>
              <a:r>
                <a:rPr lang="nl-NL" sz="1050" b="1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patient</a:t>
              </a:r>
              <a:r>
                <a:rPr lang="nl-NL" sz="1050" b="1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 </a:t>
              </a:r>
              <a:r>
                <a:rPr lang="nl-NL" sz="1050" b="1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journey</a:t>
              </a:r>
              <a:r>
                <a:rPr lang="nl-NL" sz="1050" b="1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 maken</a:t>
              </a: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</p:txBody>
        </p:sp>
      </p:grpSp>
      <p:grpSp>
        <p:nvGrpSpPr>
          <p:cNvPr id="10" name="Groep 9">
            <a:extLst>
              <a:ext uri="{FF2B5EF4-FFF2-40B4-BE49-F238E27FC236}">
                <a16:creationId xmlns:a16="http://schemas.microsoft.com/office/drawing/2014/main" id="{7E2B3DF0-3CAD-486F-BBE6-DD25F7EB2C8A}"/>
              </a:ext>
            </a:extLst>
          </p:cNvPr>
          <p:cNvGrpSpPr/>
          <p:nvPr/>
        </p:nvGrpSpPr>
        <p:grpSpPr>
          <a:xfrm>
            <a:off x="2324645" y="1981397"/>
            <a:ext cx="2164228" cy="3526434"/>
            <a:chOff x="2652316" y="1498863"/>
            <a:chExt cx="2387600" cy="4701912"/>
          </a:xfrm>
        </p:grpSpPr>
        <p:sp>
          <p:nvSpPr>
            <p:cNvPr id="11" name="AutoShape 12"/>
            <p:cNvSpPr>
              <a:spLocks noChangeArrowheads="1"/>
            </p:cNvSpPr>
            <p:nvPr/>
          </p:nvSpPr>
          <p:spPr bwMode="gray">
            <a:xfrm>
              <a:off x="2652316" y="1498863"/>
              <a:ext cx="2387600" cy="990073"/>
            </a:xfrm>
            <a:prstGeom prst="chevron">
              <a:avLst>
                <a:gd name="adj" fmla="val 32374"/>
              </a:avLst>
            </a:prstGeom>
            <a:solidFill>
              <a:schemeClr val="accent1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27000" tIns="27000" rIns="27000" bIns="27000" anchor="ctr"/>
            <a:lstStyle/>
            <a:p>
              <a:pPr algn="ctr" defTabSz="685800" hangingPunct="0">
                <a:defRPr/>
              </a:pPr>
              <a:r>
                <a:rPr lang="nl-NL" sz="1350" kern="0" dirty="0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Data in Beeld</a:t>
              </a:r>
            </a:p>
          </p:txBody>
        </p:sp>
        <p:sp>
          <p:nvSpPr>
            <p:cNvPr id="16" name="Tijdelijke aanduiding voor inhoud 20"/>
            <p:cNvSpPr txBox="1">
              <a:spLocks/>
            </p:cNvSpPr>
            <p:nvPr/>
          </p:nvSpPr>
          <p:spPr>
            <a:xfrm>
              <a:off x="2652317" y="2664083"/>
              <a:ext cx="2244327" cy="3536692"/>
            </a:xfrm>
            <a:prstGeom prst="rect">
              <a:avLst/>
            </a:prstGeom>
          </p:spPr>
          <p:txBody>
            <a:bodyPr/>
            <a:lstStyle>
              <a:lvl1pPr marL="182563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355600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6302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803275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9858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Verschillende perspectieven bij het verbeterproces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Implementatie-strategieën 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Analyse huidige zorgproces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Data (registratiegegevens) &amp; PROMs (vragenlijsten) in spreekkamer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Interpretatie data n=1 en geaggregeerde data</a:t>
              </a:r>
            </a:p>
            <a:p>
              <a:pPr marL="136922" indent="-136922" defTabSz="540000">
                <a:spcAft>
                  <a:spcPts val="600"/>
                </a:spcAft>
                <a:buClr>
                  <a:srgbClr val="A7A7A7"/>
                </a:buClr>
                <a:buFontTx/>
                <a:buChar char="-"/>
              </a:pP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b="1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Huiswerk: data die nodig  is en data die beschikbaar is</a:t>
              </a: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2038A027-F6F2-4DEC-95C2-CF3186A12B0A}"/>
              </a:ext>
            </a:extLst>
          </p:cNvPr>
          <p:cNvGrpSpPr/>
          <p:nvPr/>
        </p:nvGrpSpPr>
        <p:grpSpPr>
          <a:xfrm>
            <a:off x="4794646" y="1981397"/>
            <a:ext cx="1926194" cy="3526434"/>
            <a:chOff x="4896644" y="1498863"/>
            <a:chExt cx="2568258" cy="4701912"/>
          </a:xfrm>
        </p:grpSpPr>
        <p:sp>
          <p:nvSpPr>
            <p:cNvPr id="12" name="AutoShape 12"/>
            <p:cNvSpPr>
              <a:spLocks noChangeArrowheads="1"/>
            </p:cNvSpPr>
            <p:nvPr/>
          </p:nvSpPr>
          <p:spPr bwMode="gray">
            <a:xfrm>
              <a:off x="4896644" y="1498863"/>
              <a:ext cx="2568258" cy="990073"/>
            </a:xfrm>
            <a:prstGeom prst="chevron">
              <a:avLst>
                <a:gd name="adj" fmla="val 32374"/>
              </a:avLst>
            </a:prstGeom>
            <a:solidFill>
              <a:schemeClr val="accent1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27000" tIns="27000" rIns="27000" bIns="27000" anchor="ctr"/>
            <a:lstStyle/>
            <a:p>
              <a:pPr algn="ctr" defTabSz="685800" hangingPunct="0">
                <a:defRPr/>
              </a:pPr>
              <a:r>
                <a:rPr lang="nl-NL" sz="1350" kern="0" dirty="0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Kosten en bekostiging</a:t>
              </a:r>
            </a:p>
          </p:txBody>
        </p:sp>
        <p:sp>
          <p:nvSpPr>
            <p:cNvPr id="17" name="Tijdelijke aanduiding voor inhoud 20"/>
            <p:cNvSpPr txBox="1">
              <a:spLocks/>
            </p:cNvSpPr>
            <p:nvPr/>
          </p:nvSpPr>
          <p:spPr>
            <a:xfrm>
              <a:off x="4896645" y="2664083"/>
              <a:ext cx="2568257" cy="3536692"/>
            </a:xfrm>
            <a:prstGeom prst="rect">
              <a:avLst/>
            </a:prstGeom>
          </p:spPr>
          <p:txBody>
            <a:bodyPr/>
            <a:lstStyle>
              <a:lvl1pPr marL="182563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355600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6302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803275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9858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Time-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driven</a:t>
              </a: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activity</a:t>
              </a: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based</a:t>
              </a: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costing</a:t>
              </a: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Kosten zichtbaar maken in het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zorgpad</a:t>
              </a: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Alternatieve bekostigingsmodellen</a:t>
              </a: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Interview zorgverzekeraar</a:t>
              </a: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b="1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Huiswerk: waarde maar niet declarabel</a:t>
              </a:r>
            </a:p>
          </p:txBody>
        </p:sp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id="{3B019A7B-093F-40E7-BB8D-901688A4C2A7}"/>
              </a:ext>
            </a:extLst>
          </p:cNvPr>
          <p:cNvGrpSpPr/>
          <p:nvPr/>
        </p:nvGrpSpPr>
        <p:grpSpPr>
          <a:xfrm>
            <a:off x="6891121" y="1981397"/>
            <a:ext cx="1938554" cy="3526434"/>
            <a:chOff x="6943833" y="1498863"/>
            <a:chExt cx="2584739" cy="4701912"/>
          </a:xfrm>
        </p:grpSpPr>
        <p:sp>
          <p:nvSpPr>
            <p:cNvPr id="13" name="AutoShape 12"/>
            <p:cNvSpPr>
              <a:spLocks noChangeArrowheads="1"/>
            </p:cNvSpPr>
            <p:nvPr/>
          </p:nvSpPr>
          <p:spPr bwMode="gray">
            <a:xfrm>
              <a:off x="6943833" y="1498863"/>
              <a:ext cx="2584739" cy="990073"/>
            </a:xfrm>
            <a:prstGeom prst="chevron">
              <a:avLst>
                <a:gd name="adj" fmla="val 32374"/>
              </a:avLst>
            </a:prstGeom>
            <a:solidFill>
              <a:schemeClr val="accent1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27000" tIns="27000" rIns="27000" bIns="27000" anchor="ctr"/>
            <a:lstStyle/>
            <a:p>
              <a:pPr algn="ctr" defTabSz="685800" hangingPunct="0">
                <a:defRPr/>
              </a:pPr>
              <a:r>
                <a:rPr lang="nl-NL" sz="1350" kern="0" dirty="0" err="1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Grensoverstijgend</a:t>
              </a:r>
              <a:r>
                <a:rPr lang="nl-NL" sz="1350" kern="0" dirty="0">
                  <a:solidFill>
                    <a:srgbClr val="FFFFFF"/>
                  </a:solidFill>
                  <a:latin typeface="Calibri"/>
                  <a:cs typeface="Calibri"/>
                  <a:sym typeface="Calibri"/>
                </a:rPr>
                <a:t> Verbeteren</a:t>
              </a:r>
            </a:p>
          </p:txBody>
        </p:sp>
        <p:sp>
          <p:nvSpPr>
            <p:cNvPr id="18" name="Tijdelijke aanduiding voor inhoud 20"/>
            <p:cNvSpPr txBox="1">
              <a:spLocks/>
            </p:cNvSpPr>
            <p:nvPr/>
          </p:nvSpPr>
          <p:spPr>
            <a:xfrm>
              <a:off x="7140974" y="2664083"/>
              <a:ext cx="2244327" cy="3536692"/>
            </a:xfrm>
            <a:prstGeom prst="rect">
              <a:avLst/>
            </a:prstGeom>
          </p:spPr>
          <p:txBody>
            <a:bodyPr/>
            <a:lstStyle>
              <a:lvl1pPr marL="182563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355600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6302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803275" indent="-173038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985838" indent="-182563" algn="l" defTabSz="72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Patiëntengroep selecteren, data over zorgproces verzamelen en data gebruiken voor dashboards</a:t>
              </a: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Tx/>
                <a:buChar char="-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Indicatoren 	spreekkamer</a:t>
              </a:r>
            </a:p>
            <a:p>
              <a:pPr marL="0" indent="0" defTabSz="540000">
                <a:spcAft>
                  <a:spcPts val="300"/>
                </a:spcAft>
                <a:buClr>
                  <a:srgbClr val="A7A7A7"/>
                </a:buClr>
                <a:buNone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	team/afdeling</a:t>
              </a:r>
            </a:p>
            <a:p>
              <a:pPr marL="0" indent="0" defTabSz="540000">
                <a:spcAft>
                  <a:spcPts val="300"/>
                </a:spcAft>
                <a:buClr>
                  <a:srgbClr val="A7A7A7"/>
                </a:buClr>
                <a:buNone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	ziekenhuis</a:t>
              </a:r>
            </a:p>
            <a:p>
              <a:pPr marL="0" indent="0" defTabSz="540000">
                <a:spcAft>
                  <a:spcPts val="300"/>
                </a:spcAft>
                <a:buClr>
                  <a:srgbClr val="A7A7A7"/>
                </a:buClr>
                <a:buNone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	regio</a:t>
              </a:r>
            </a:p>
            <a:p>
              <a:pPr marL="136922" indent="-136922" defTabSz="540000">
                <a:spcAft>
                  <a:spcPts val="300"/>
                </a:spcAft>
                <a:buClr>
                  <a:srgbClr val="A7A7A7"/>
                </a:buClr>
                <a:buFont typeface="Helvetica" panose="020B0604020202020204" pitchFamily="34" charset="0"/>
                <a:buChar char="–"/>
              </a:pP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Integratie van zorg en </a:t>
              </a:r>
              <a:r>
                <a:rPr lang="nl-NL" sz="1050" dirty="0" err="1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stroke</a:t>
              </a:r>
              <a:r>
                <a:rPr lang="nl-NL" sz="1050" dirty="0">
                  <a:solidFill>
                    <a:srgbClr val="373737"/>
                  </a:solidFill>
                  <a:latin typeface="Helvetica"/>
                  <a:cs typeface="Helvetica"/>
                  <a:sym typeface="Calibri"/>
                </a:rPr>
                <a:t>-casus</a:t>
              </a:r>
            </a:p>
            <a:p>
              <a:pPr marL="0" indent="0" defTabSz="540000">
                <a:spcAft>
                  <a:spcPts val="300"/>
                </a:spcAft>
                <a:buClr>
                  <a:srgbClr val="A7A7A7"/>
                </a:buClr>
                <a:buNone/>
              </a:pPr>
              <a:endParaRPr lang="nl-NL" sz="1050" dirty="0">
                <a:solidFill>
                  <a:srgbClr val="373737"/>
                </a:solidFill>
                <a:latin typeface="Helvetica"/>
                <a:cs typeface="Helvetica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1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– </a:t>
            </a:r>
            <a:r>
              <a:rPr lang="nl-NL" sz="1050" dirty="0" smtClean="0"/>
              <a:t>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b="1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24237550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b="1" dirty="0" smtClean="0"/>
              <a:t>Introductie </a:t>
            </a:r>
            <a:r>
              <a:rPr lang="nl-NL" sz="1050" b="1" dirty="0"/>
              <a:t>Linnean Initiatief en </a:t>
            </a:r>
            <a:r>
              <a:rPr lang="nl-NL" sz="1050" b="1" dirty="0" smtClean="0"/>
              <a:t>de </a:t>
            </a:r>
            <a:r>
              <a:rPr lang="nl-NL" sz="1050" b="1" dirty="0"/>
              <a:t>Werkgroep Onderwijs &amp; Opleiden – Willem Jan Bos </a:t>
            </a:r>
            <a:endParaRPr lang="nl-NL" sz="1050" b="1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– </a:t>
            </a:r>
            <a:r>
              <a:rPr lang="nl-NL" sz="1050" dirty="0" smtClean="0"/>
              <a:t>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314666930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tekst 7"/>
          <p:cNvSpPr>
            <a:spLocks noGrp="1"/>
          </p:cNvSpPr>
          <p:nvPr>
            <p:ph type="body" sz="quarter" idx="10"/>
          </p:nvPr>
        </p:nvSpPr>
        <p:spPr>
          <a:xfrm>
            <a:off x="857252" y="1593540"/>
            <a:ext cx="7429499" cy="1295400"/>
          </a:xfrm>
        </p:spPr>
        <p:txBody>
          <a:bodyPr/>
          <a:lstStyle/>
          <a:p>
            <a:r>
              <a:rPr lang="en-US" dirty="0" smtClean="0"/>
              <a:t>Waardegedreven </a:t>
            </a:r>
            <a:r>
              <a:rPr lang="en-US" dirty="0" err="1" smtClean="0"/>
              <a:t>zorg</a:t>
            </a:r>
            <a:r>
              <a:rPr lang="en-US" dirty="0" smtClean="0"/>
              <a:t> </a:t>
            </a:r>
            <a:r>
              <a:rPr lang="en-US" dirty="0" err="1" smtClean="0"/>
              <a:t>Educatie</a:t>
            </a:r>
            <a:r>
              <a:rPr lang="en-US" dirty="0" smtClean="0"/>
              <a:t>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3318610" y="3929113"/>
            <a:ext cx="2603540" cy="219741"/>
          </a:xfrm>
          <a:prstGeom prst="rect">
            <a:avLst/>
          </a:prstGeom>
          <a:noFill/>
        </p:spPr>
        <p:txBody>
          <a:bodyPr wrap="square" lIns="80456" tIns="40228" rIns="80456" bIns="40228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l-NL" sz="900" dirty="0">
                <a:solidFill>
                  <a:srgbClr val="F8F8F8">
                    <a:lumMod val="50000"/>
                  </a:srgbClr>
                </a:solidFill>
                <a:latin typeface="Alwyn" panose="00000400000000000000" pitchFamily="2" charset="0"/>
              </a:rPr>
              <a:t>Paul Bastiaan van der Nat</a:t>
            </a:r>
          </a:p>
        </p:txBody>
      </p:sp>
    </p:spTree>
    <p:extLst>
      <p:ext uri="{BB962C8B-B14F-4D97-AF65-F5344CB8AC3E}">
        <p14:creationId xmlns:p14="http://schemas.microsoft.com/office/powerpoint/2010/main" val="7503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VBHC </a:t>
            </a:r>
            <a:r>
              <a:rPr lang="en-US" dirty="0" err="1" smtClean="0"/>
              <a:t>Educatie</a:t>
            </a:r>
            <a:r>
              <a:rPr lang="en-US" dirty="0" smtClean="0"/>
              <a:t> in het ST. Antonius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22" y="2132857"/>
            <a:ext cx="2496594" cy="3532077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1920" y="2852937"/>
            <a:ext cx="4313288" cy="1060749"/>
          </a:xfrm>
          <a:prstGeom prst="rect">
            <a:avLst/>
          </a:prstGeom>
        </p:spPr>
      </p:pic>
      <p:cxnSp>
        <p:nvCxnSpPr>
          <p:cNvPr id="9" name="Rechte verbindingslijn 8"/>
          <p:cNvCxnSpPr>
            <a:stCxn id="6" idx="3"/>
            <a:endCxn id="7" idx="1"/>
          </p:cNvCxnSpPr>
          <p:nvPr/>
        </p:nvCxnSpPr>
        <p:spPr bwMode="auto">
          <a:xfrm flipV="1">
            <a:off x="2915816" y="3383311"/>
            <a:ext cx="936104" cy="51558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1028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Opleidingsaanbod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3"/>
          </p:nvPr>
        </p:nvSpPr>
        <p:spPr>
          <a:xfrm>
            <a:off x="419222" y="2161770"/>
            <a:ext cx="3648722" cy="385951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Introductiebijeenkomst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VBHC workshops (</a:t>
            </a:r>
            <a:r>
              <a:rPr lang="en-US" dirty="0" err="1" smtClean="0"/>
              <a:t>vaste</a:t>
            </a:r>
            <a:r>
              <a:rPr lang="en-US" dirty="0" smtClean="0"/>
              <a:t> </a:t>
            </a:r>
            <a:r>
              <a:rPr lang="en-US" dirty="0" err="1" smtClean="0"/>
              <a:t>momenten</a:t>
            </a:r>
            <a:r>
              <a:rPr lang="en-US" dirty="0" smtClean="0"/>
              <a:t> en op </a:t>
            </a:r>
            <a:r>
              <a:rPr lang="en-US" dirty="0" err="1" smtClean="0"/>
              <a:t>aanvraag</a:t>
            </a:r>
            <a:r>
              <a:rPr lang="en-US" dirty="0" smtClean="0"/>
              <a:t>, e.g.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maatschap</a:t>
            </a:r>
            <a:r>
              <a:rPr lang="en-US" dirty="0" smtClean="0"/>
              <a:t> of </a:t>
            </a:r>
            <a:r>
              <a:rPr lang="en-US" dirty="0" err="1" smtClean="0"/>
              <a:t>afdeling</a:t>
            </a:r>
            <a:r>
              <a:rPr lang="en-US" dirty="0" smtClean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E-learning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On-boarding program Sante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Delen</a:t>
            </a:r>
            <a:r>
              <a:rPr lang="en-US" dirty="0" smtClean="0"/>
              <a:t> van </a:t>
            </a:r>
            <a:r>
              <a:rPr lang="en-US" dirty="0" err="1" smtClean="0"/>
              <a:t>succussen</a:t>
            </a:r>
            <a:r>
              <a:rPr lang="en-US" dirty="0" smtClean="0"/>
              <a:t> (</a:t>
            </a:r>
            <a:r>
              <a:rPr lang="en-US" dirty="0" err="1" smtClean="0"/>
              <a:t>o.a</a:t>
            </a:r>
            <a:r>
              <a:rPr lang="en-US" dirty="0" smtClean="0"/>
              <a:t>. </a:t>
            </a:r>
            <a:r>
              <a:rPr lang="en-US" dirty="0" err="1" smtClean="0"/>
              <a:t>boek</a:t>
            </a:r>
            <a:r>
              <a:rPr lang="en-US" dirty="0" smtClean="0"/>
              <a:t> Waardegedreven </a:t>
            </a:r>
            <a:r>
              <a:rPr lang="en-US" dirty="0" err="1" smtClean="0"/>
              <a:t>zorg</a:t>
            </a:r>
            <a:r>
              <a:rPr lang="en-US" dirty="0" smtClean="0"/>
              <a:t>: </a:t>
            </a:r>
            <a:r>
              <a:rPr lang="en-US" dirty="0" err="1" smtClean="0"/>
              <a:t>Droom</a:t>
            </a:r>
            <a:r>
              <a:rPr lang="en-US" dirty="0" smtClean="0"/>
              <a:t> of </a:t>
            </a:r>
            <a:r>
              <a:rPr lang="en-US" dirty="0" err="1" smtClean="0"/>
              <a:t>Werkelijkheid</a:t>
            </a:r>
            <a:r>
              <a:rPr lang="en-US" dirty="0" smtClean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Jaarlijks</a:t>
            </a:r>
            <a:r>
              <a:rPr lang="en-US" dirty="0" smtClean="0"/>
              <a:t> symposium</a:t>
            </a:r>
          </a:p>
          <a:p>
            <a:pPr marL="342900" indent="-342900">
              <a:buFont typeface="+mj-lt"/>
              <a:buAutoNum type="arabicPeriod"/>
            </a:pP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endParaRPr lang="nl-NL" dirty="0"/>
          </a:p>
        </p:txBody>
      </p:sp>
      <p:pic>
        <p:nvPicPr>
          <p:cNvPr id="6" name="Picture 2" descr="No alternative text description for this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049296"/>
            <a:ext cx="2886484" cy="323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3"/>
          <a:srcRect l="28905" t="24308" r="30057" b="9752"/>
          <a:stretch/>
        </p:blipFill>
        <p:spPr>
          <a:xfrm>
            <a:off x="4355977" y="2348071"/>
            <a:ext cx="3607811" cy="32609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26299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VBHC workshop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1468915"/>
            <a:ext cx="8569200" cy="397032"/>
          </a:xfrm>
        </p:spPr>
        <p:txBody>
          <a:bodyPr/>
          <a:lstStyle/>
          <a:p>
            <a:r>
              <a:rPr lang="en-US" dirty="0" err="1" smtClean="0"/>
              <a:t>Succesfactor</a:t>
            </a:r>
            <a:r>
              <a:rPr lang="en-US" dirty="0" smtClean="0"/>
              <a:t>: direct </a:t>
            </a:r>
            <a:r>
              <a:rPr lang="en-US" dirty="0" err="1" smtClean="0"/>
              <a:t>koppelen</a:t>
            </a:r>
            <a:r>
              <a:rPr lang="en-US" dirty="0" smtClean="0"/>
              <a:t> van </a:t>
            </a:r>
            <a:r>
              <a:rPr lang="en-US" dirty="0" err="1" smtClean="0"/>
              <a:t>theorie</a:t>
            </a:r>
            <a:r>
              <a:rPr lang="en-US" dirty="0" smtClean="0"/>
              <a:t> met </a:t>
            </a:r>
            <a:r>
              <a:rPr lang="en-US" dirty="0" err="1" smtClean="0"/>
              <a:t>praktijk</a:t>
            </a:r>
            <a:endParaRPr lang="nl-NL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829" y="2357950"/>
            <a:ext cx="4248472" cy="23980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7178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VBHC workshop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1468915"/>
            <a:ext cx="8569200" cy="397032"/>
          </a:xfrm>
        </p:spPr>
        <p:txBody>
          <a:bodyPr/>
          <a:lstStyle/>
          <a:p>
            <a:r>
              <a:rPr lang="en-US" dirty="0" err="1" smtClean="0"/>
              <a:t>Succesfactor</a:t>
            </a:r>
            <a:r>
              <a:rPr lang="en-US" dirty="0" smtClean="0"/>
              <a:t>: direct </a:t>
            </a:r>
            <a:r>
              <a:rPr lang="en-US" dirty="0" err="1" smtClean="0"/>
              <a:t>koppelen</a:t>
            </a:r>
            <a:r>
              <a:rPr lang="en-US" dirty="0" smtClean="0"/>
              <a:t> van </a:t>
            </a:r>
            <a:r>
              <a:rPr lang="en-US" dirty="0" err="1" smtClean="0"/>
              <a:t>theorie</a:t>
            </a:r>
            <a:r>
              <a:rPr lang="en-US" dirty="0" smtClean="0"/>
              <a:t> met </a:t>
            </a:r>
            <a:r>
              <a:rPr lang="en-US" dirty="0" err="1" smtClean="0"/>
              <a:t>praktijk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5" y="2348880"/>
            <a:ext cx="4248472" cy="24023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1552" y="2357950"/>
            <a:ext cx="4241124" cy="23933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1270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e-learning 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1468915"/>
            <a:ext cx="8569200" cy="397032"/>
          </a:xfrm>
        </p:spPr>
        <p:txBody>
          <a:bodyPr/>
          <a:lstStyle/>
          <a:p>
            <a:r>
              <a:rPr lang="en-US" dirty="0" smtClean="0"/>
              <a:t>Waardegedreven </a:t>
            </a:r>
            <a:r>
              <a:rPr lang="en-US" dirty="0" err="1" smtClean="0"/>
              <a:t>zorg</a:t>
            </a:r>
            <a:r>
              <a:rPr lang="en-US" dirty="0" smtClean="0"/>
              <a:t> &amp; </a:t>
            </a:r>
            <a:r>
              <a:rPr lang="en-US" dirty="0" err="1" smtClean="0"/>
              <a:t>verandermanagement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3"/>
          </p:nvPr>
        </p:nvSpPr>
        <p:spPr>
          <a:xfrm>
            <a:off x="419222" y="4725144"/>
            <a:ext cx="8471890" cy="707886"/>
          </a:xfrm>
        </p:spPr>
        <p:txBody>
          <a:bodyPr/>
          <a:lstStyle/>
          <a:p>
            <a:r>
              <a:rPr lang="en-US" dirty="0" smtClean="0"/>
              <a:t>E-infuse: </a:t>
            </a:r>
            <a:r>
              <a:rPr lang="en-US" dirty="0" err="1" smtClean="0"/>
              <a:t>stichting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interactive online </a:t>
            </a:r>
            <a:r>
              <a:rPr lang="en-US" dirty="0" err="1" smtClean="0"/>
              <a:t>scholing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zorgprofessionals</a:t>
            </a:r>
            <a:endParaRPr lang="en-US" dirty="0" smtClean="0"/>
          </a:p>
          <a:p>
            <a:r>
              <a:rPr lang="en-US" dirty="0" smtClean="0"/>
              <a:t>https</a:t>
            </a:r>
            <a:r>
              <a:rPr lang="en-US" dirty="0"/>
              <a:t>://e-infuse.com/waardegedreven-zorg/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2"/>
          <a:srcRect t="5303" b="43428"/>
          <a:stretch/>
        </p:blipFill>
        <p:spPr>
          <a:xfrm>
            <a:off x="419222" y="2661619"/>
            <a:ext cx="3421146" cy="1748842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3"/>
          <a:srcRect l="21454" t="31625" r="21945" b="27251"/>
          <a:stretch/>
        </p:blipFill>
        <p:spPr>
          <a:xfrm>
            <a:off x="3995937" y="2696998"/>
            <a:ext cx="4786297" cy="1956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240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Verhalen</a:t>
            </a:r>
            <a:r>
              <a:rPr lang="en-US" dirty="0" smtClean="0"/>
              <a:t> </a:t>
            </a:r>
            <a:r>
              <a:rPr lang="en-US" dirty="0" err="1" smtClean="0"/>
              <a:t>uit</a:t>
            </a:r>
            <a:r>
              <a:rPr lang="en-US" dirty="0" smtClean="0"/>
              <a:t> de </a:t>
            </a:r>
            <a:r>
              <a:rPr lang="en-US" dirty="0" err="1" smtClean="0"/>
              <a:t>praktijk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8318" y="1799301"/>
            <a:ext cx="2496000" cy="1404000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3"/>
          <a:srcRect l="17516" t="18500" r="18993" b="17625"/>
          <a:stretch/>
        </p:blipFill>
        <p:spPr>
          <a:xfrm>
            <a:off x="3491880" y="3696803"/>
            <a:ext cx="2481024" cy="1404000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3625246" y="3258269"/>
            <a:ext cx="26388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Rol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voor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de verpleegkundige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3625246" y="5153422"/>
            <a:ext cx="16257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Patient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centraal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?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 rotWithShape="1">
          <a:blip r:embed="rId4"/>
          <a:srcRect l="-1" t="390" r="1" b="47119"/>
          <a:stretch/>
        </p:blipFill>
        <p:spPr>
          <a:xfrm>
            <a:off x="6333440" y="3696803"/>
            <a:ext cx="2537616" cy="1415014"/>
          </a:xfrm>
          <a:prstGeom prst="rect">
            <a:avLst/>
          </a:prstGeom>
        </p:spPr>
      </p:pic>
      <p:sp>
        <p:nvSpPr>
          <p:cNvPr id="13" name="Tekstvak 12"/>
          <p:cNvSpPr txBox="1"/>
          <p:nvPr/>
        </p:nvSpPr>
        <p:spPr>
          <a:xfrm>
            <a:off x="6372200" y="5153422"/>
            <a:ext cx="16303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Rol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voor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de AIOs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 rotWithShape="1">
          <a:blip r:embed="rId5"/>
          <a:srcRect l="17516" t="19376" r="18993" b="17626"/>
          <a:stretch/>
        </p:blipFill>
        <p:spPr>
          <a:xfrm>
            <a:off x="573670" y="1799301"/>
            <a:ext cx="2515500" cy="1404000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625077" y="3284985"/>
            <a:ext cx="27109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Uitkomstgedreven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verbeteren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625077" y="5204506"/>
            <a:ext cx="22541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Ketenzorg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binnen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VBHC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kstvak 16"/>
          <p:cNvSpPr txBox="1"/>
          <p:nvPr/>
        </p:nvSpPr>
        <p:spPr>
          <a:xfrm>
            <a:off x="6372200" y="3284985"/>
            <a:ext cx="1547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Bewezen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Arial" charset="0"/>
              </a:rPr>
              <a:t>beter</a:t>
            </a:r>
            <a:r>
              <a:rPr lang="en-US" sz="1400" b="1" dirty="0">
                <a:solidFill>
                  <a:srgbClr val="000000"/>
                </a:solidFill>
                <a:latin typeface="Arial" charset="0"/>
              </a:rPr>
              <a:t>?</a:t>
            </a:r>
            <a:endParaRPr lang="nl-NL" sz="14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8" name="Afbeelding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076" y="3696803"/>
            <a:ext cx="2496000" cy="1404000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 rotWithShape="1">
          <a:blip r:embed="rId7"/>
          <a:srcRect l="22930" t="19375" r="23914" b="28125"/>
          <a:stretch/>
        </p:blipFill>
        <p:spPr>
          <a:xfrm>
            <a:off x="6343856" y="1814134"/>
            <a:ext cx="2527200" cy="14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3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Discussieforum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2"/>
          <a:srcRect l="21454" t="14126" r="22438" b="15875"/>
          <a:stretch/>
        </p:blipFill>
        <p:spPr>
          <a:xfrm>
            <a:off x="419222" y="2459641"/>
            <a:ext cx="4464248" cy="3132805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3"/>
          <a:srcRect l="17516" t="41250" r="17024" b="16751"/>
          <a:stretch/>
        </p:blipFill>
        <p:spPr>
          <a:xfrm>
            <a:off x="2456244" y="1835773"/>
            <a:ext cx="6434869" cy="2322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Ovaal 7"/>
          <p:cNvSpPr/>
          <p:nvPr/>
        </p:nvSpPr>
        <p:spPr bwMode="auto">
          <a:xfrm>
            <a:off x="395288" y="2780928"/>
            <a:ext cx="1008360" cy="432048"/>
          </a:xfrm>
          <a:prstGeom prst="ellipse">
            <a:avLst/>
          </a:prstGeom>
          <a:noFill/>
          <a:ln w="222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l-NL" sz="16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804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Toewerken</a:t>
            </a:r>
            <a:r>
              <a:rPr lang="en-US" dirty="0" smtClean="0"/>
              <a:t> </a:t>
            </a:r>
            <a:r>
              <a:rPr lang="en-US" dirty="0" err="1" smtClean="0"/>
              <a:t>naar</a:t>
            </a:r>
            <a:r>
              <a:rPr lang="en-US" dirty="0" smtClean="0"/>
              <a:t> concrete </a:t>
            </a:r>
            <a:r>
              <a:rPr lang="en-US" dirty="0" err="1" smtClean="0"/>
              <a:t>acties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2"/>
          <a:srcRect l="23914" t="34250" r="42126" b="14125"/>
          <a:stretch/>
        </p:blipFill>
        <p:spPr>
          <a:xfrm>
            <a:off x="307657" y="2207362"/>
            <a:ext cx="3816672" cy="3263531"/>
          </a:xfrm>
          <a:prstGeom prst="rect">
            <a:avLst/>
          </a:prstGeom>
        </p:spPr>
      </p:pic>
      <p:graphicFrame>
        <p:nvGraphicFramePr>
          <p:cNvPr id="7" name="Tabel 6"/>
          <p:cNvGraphicFramePr>
            <a:graphicFrameLocks noGrp="1"/>
          </p:cNvGraphicFramePr>
          <p:nvPr>
            <p:extLst/>
          </p:nvPr>
        </p:nvGraphicFramePr>
        <p:xfrm>
          <a:off x="1495096" y="1558776"/>
          <a:ext cx="7603370" cy="361451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75533">
                  <a:extLst>
                    <a:ext uri="{9D8B030D-6E8A-4147-A177-3AD203B41FA5}">
                      <a16:colId xmlns:a16="http://schemas.microsoft.com/office/drawing/2014/main" val="2459081596"/>
                    </a:ext>
                  </a:extLst>
                </a:gridCol>
                <a:gridCol w="7027837">
                  <a:extLst>
                    <a:ext uri="{9D8B030D-6E8A-4147-A177-3AD203B41FA5}">
                      <a16:colId xmlns:a16="http://schemas.microsoft.com/office/drawing/2014/main" val="2312674007"/>
                    </a:ext>
                  </a:extLst>
                </a:gridCol>
              </a:tblGrid>
              <a:tr h="195058">
                <a:tc>
                  <a:txBody>
                    <a:bodyPr/>
                    <a:lstStyle/>
                    <a:p>
                      <a:pPr eaLnBrk="1"/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Verbeterideeën 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3861817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1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Stroomlijnen IBD zorg; minder controles;</a:t>
                      </a:r>
                      <a:r>
                        <a:rPr lang="nl-NL" sz="1000" baseline="0" noProof="0" dirty="0" smtClean="0"/>
                        <a:t> “</a:t>
                      </a:r>
                      <a:r>
                        <a:rPr lang="nl-NL" sz="1000" noProof="0" dirty="0" smtClean="0"/>
                        <a:t>mijn hele dag al volgepland was met reeds geplande controles van patiënten waarmee het goed ging”.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3548601"/>
                  </a:ext>
                </a:extLst>
              </a:tr>
              <a:tr h="195058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2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Verbetering</a:t>
                      </a:r>
                      <a:r>
                        <a:rPr lang="nl-NL" sz="1000" baseline="0" noProof="0" dirty="0" smtClean="0"/>
                        <a:t> voor moeilijk te prikken patiënten of voorkomen herhaald prikken kort na elkaar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1710113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3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behoefte tot en mogelijkheden voor pijnstilling en sedatie bij kinderen met pijn op de spoedeisende hulp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0335763"/>
                  </a:ext>
                </a:extLst>
              </a:tr>
              <a:tr h="411651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4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Verbeteren gefragmenteerde zorg die we leveren aan patiënten met zogenaamde '</a:t>
                      </a:r>
                      <a:r>
                        <a:rPr lang="nl-NL" sz="1000" noProof="0" dirty="0" err="1" smtClean="0"/>
                        <a:t>cardiometabole</a:t>
                      </a:r>
                      <a:r>
                        <a:rPr lang="nl-NL" sz="1000" noProof="0" dirty="0" smtClean="0"/>
                        <a:t>' aandoeningen (type 2 diabetes, hypertensie, </a:t>
                      </a:r>
                      <a:r>
                        <a:rPr lang="nl-NL" sz="1000" noProof="0" dirty="0" err="1" smtClean="0"/>
                        <a:t>hypercholesterolaemie</a:t>
                      </a:r>
                      <a:r>
                        <a:rPr lang="nl-NL" sz="1000" noProof="0" dirty="0" smtClean="0"/>
                        <a:t>, HVZ, obesitas)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6401691"/>
                  </a:ext>
                </a:extLst>
              </a:tr>
              <a:tr h="195058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5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Voorkomen (onnodig) polibezoek voor nog niet beschikbaar resultaat diagnostiek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5345579"/>
                  </a:ext>
                </a:extLst>
              </a:tr>
              <a:tr h="195058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6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Door ontwikkeling EPIC zorgpaden processen en uitkomsten real time meetbaar te maken.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0423516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7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Uitkomsten inzichtelijk maken binnen</a:t>
                      </a:r>
                      <a:r>
                        <a:rPr lang="nl-NL" sz="1000" baseline="0" noProof="0" dirty="0" smtClean="0"/>
                        <a:t> shared decision making bij multiple myeloom. Daardoor </a:t>
                      </a:r>
                      <a:r>
                        <a:rPr lang="nl-NL" sz="1000" baseline="0" noProof="0" dirty="0" err="1" smtClean="0"/>
                        <a:t>geuniformeerder</a:t>
                      </a:r>
                      <a:r>
                        <a:rPr lang="nl-NL" sz="1000" baseline="0" noProof="0" dirty="0" smtClean="0"/>
                        <a:t> werken.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652459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8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Interventiekamer zelf 'ogen' geven:</a:t>
                      </a:r>
                      <a:r>
                        <a:rPr lang="nl-NL" sz="1000" baseline="0" noProof="0" dirty="0" smtClean="0"/>
                        <a:t> </a:t>
                      </a:r>
                      <a:r>
                        <a:rPr lang="nl-NL" sz="1000" noProof="0" dirty="0" smtClean="0"/>
                        <a:t>processtappen door het systeem herkennen, vervolgstappen automatiseren (einde behandeling en informeren transportdienst en verpleging).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8547348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9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Doorgebruik thuismedicatie bij initieel korte opnames realiseren; wat de veiligheid is, wat het oplevert aan spillagereductie en last but </a:t>
                      </a:r>
                      <a:r>
                        <a:rPr lang="nl-NL" sz="1000" noProof="0" dirty="0" err="1" smtClean="0"/>
                        <a:t>not</a:t>
                      </a:r>
                      <a:r>
                        <a:rPr lang="nl-NL" sz="1000" noProof="0" dirty="0" smtClean="0"/>
                        <a:t> </a:t>
                      </a:r>
                      <a:r>
                        <a:rPr lang="nl-NL" sz="1000" noProof="0" dirty="0" err="1" smtClean="0"/>
                        <a:t>least</a:t>
                      </a:r>
                      <a:r>
                        <a:rPr lang="nl-NL" sz="1000" noProof="0" dirty="0" smtClean="0"/>
                        <a:t>, wat de ervaringen zijn van de patiënten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9237091"/>
                  </a:ext>
                </a:extLst>
              </a:tr>
              <a:tr h="321272"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10</a:t>
                      </a:r>
                      <a:endParaRPr lang="nl-NL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000" noProof="0" dirty="0" smtClean="0"/>
                        <a:t>Regelen </a:t>
                      </a:r>
                      <a:r>
                        <a:rPr lang="nl-NL" sz="1000" noProof="0" dirty="0" err="1" smtClean="0"/>
                        <a:t>process</a:t>
                      </a:r>
                      <a:r>
                        <a:rPr lang="nl-NL" sz="1000" noProof="0" dirty="0" smtClean="0"/>
                        <a:t> IBD </a:t>
                      </a:r>
                      <a:r>
                        <a:rPr lang="nl-NL" sz="1000" noProof="0" dirty="0" err="1" smtClean="0"/>
                        <a:t>patienten</a:t>
                      </a:r>
                      <a:r>
                        <a:rPr lang="nl-NL" sz="1000" noProof="0" dirty="0" smtClean="0"/>
                        <a:t> op betere </a:t>
                      </a:r>
                      <a:r>
                        <a:rPr lang="nl-NL" sz="1000" noProof="0" dirty="0" err="1" smtClean="0"/>
                        <a:t>patientvriendelijker</a:t>
                      </a:r>
                      <a:r>
                        <a:rPr lang="nl-NL" sz="1000" noProof="0" dirty="0" smtClean="0"/>
                        <a:t> en </a:t>
                      </a:r>
                      <a:r>
                        <a:rPr lang="nl-NL" sz="1000" noProof="0" dirty="0" err="1" smtClean="0"/>
                        <a:t>doktervriendelijker</a:t>
                      </a:r>
                      <a:r>
                        <a:rPr lang="nl-NL" sz="1000" noProof="0" dirty="0" smtClean="0"/>
                        <a:t> manier (minder contacten heen en weer)</a:t>
                      </a:r>
                      <a:endParaRPr lang="nl-NL" sz="10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505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5956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E-learning: </a:t>
            </a:r>
            <a:r>
              <a:rPr lang="en-US" dirty="0" err="1" smtClean="0"/>
              <a:t>samenvatting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2"/>
          </p:nvPr>
        </p:nvSpPr>
        <p:spPr>
          <a:xfrm>
            <a:off x="419222" y="1508787"/>
            <a:ext cx="8471890" cy="363176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>
          <a:xfrm>
            <a:off x="417701" y="815554"/>
            <a:ext cx="8569200" cy="397032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3"/>
          </p:nvPr>
        </p:nvSpPr>
        <p:spPr>
          <a:xfrm>
            <a:off x="419222" y="2331874"/>
            <a:ext cx="4080770" cy="3243965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Inspirerende</a:t>
            </a:r>
            <a:r>
              <a:rPr lang="en-US" dirty="0" smtClean="0"/>
              <a:t> </a:t>
            </a:r>
            <a:r>
              <a:rPr lang="en-US" dirty="0" err="1" smtClean="0"/>
              <a:t>praktijkvoorbeelden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Directe</a:t>
            </a:r>
            <a:r>
              <a:rPr lang="en-US" dirty="0" smtClean="0"/>
              <a:t> </a:t>
            </a:r>
            <a:r>
              <a:rPr lang="en-US" dirty="0" err="1" smtClean="0"/>
              <a:t>discussie</a:t>
            </a:r>
            <a:r>
              <a:rPr lang="en-US" dirty="0" smtClean="0"/>
              <a:t> met </a:t>
            </a:r>
            <a:r>
              <a:rPr lang="en-US" dirty="0" err="1" smtClean="0"/>
              <a:t>collega’s</a:t>
            </a:r>
            <a:r>
              <a:rPr lang="en-US" dirty="0" smtClean="0"/>
              <a:t> en experts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Concreet</a:t>
            </a:r>
            <a:r>
              <a:rPr lang="en-US" dirty="0" smtClean="0"/>
              <a:t> </a:t>
            </a:r>
            <a:r>
              <a:rPr lang="en-US" dirty="0" err="1" smtClean="0"/>
              <a:t>toewerken</a:t>
            </a:r>
            <a:r>
              <a:rPr lang="en-US" dirty="0" smtClean="0"/>
              <a:t> </a:t>
            </a:r>
            <a:r>
              <a:rPr lang="en-US" dirty="0" err="1" smtClean="0"/>
              <a:t>naar</a:t>
            </a:r>
            <a:r>
              <a:rPr lang="en-US" dirty="0" smtClean="0"/>
              <a:t> </a:t>
            </a:r>
            <a:r>
              <a:rPr lang="en-US" dirty="0" err="1" smtClean="0"/>
              <a:t>verbeterproject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Weinig</a:t>
            </a:r>
            <a:r>
              <a:rPr lang="en-US" dirty="0" smtClean="0"/>
              <a:t> </a:t>
            </a:r>
            <a:r>
              <a:rPr lang="en-US" dirty="0" err="1" smtClean="0"/>
              <a:t>tijd</a:t>
            </a:r>
            <a:r>
              <a:rPr lang="en-US" dirty="0"/>
              <a:t> </a:t>
            </a:r>
            <a:r>
              <a:rPr lang="en-US" dirty="0" smtClean="0"/>
              <a:t>&amp; in </a:t>
            </a:r>
            <a:r>
              <a:rPr lang="en-US" dirty="0" err="1" smtClean="0"/>
              <a:t>eigen</a:t>
            </a:r>
            <a:r>
              <a:rPr lang="en-US" dirty="0" smtClean="0"/>
              <a:t> </a:t>
            </a:r>
            <a:r>
              <a:rPr lang="en-US" dirty="0" err="1" smtClean="0"/>
              <a:t>tijd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Verwijzingen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verdere</a:t>
            </a:r>
            <a:r>
              <a:rPr lang="en-US" dirty="0" smtClean="0"/>
              <a:t> </a:t>
            </a:r>
            <a:r>
              <a:rPr lang="en-US" dirty="0" err="1" smtClean="0"/>
              <a:t>verdieping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meerdere</a:t>
            </a:r>
            <a:r>
              <a:rPr lang="en-US" dirty="0" smtClean="0"/>
              <a:t> disciplines (</a:t>
            </a:r>
            <a:r>
              <a:rPr lang="en-US" dirty="0" err="1" smtClean="0"/>
              <a:t>zorg</a:t>
            </a:r>
            <a:r>
              <a:rPr lang="en-US" dirty="0" smtClean="0"/>
              <a:t> en </a:t>
            </a:r>
            <a:r>
              <a:rPr lang="en-US" dirty="0" err="1" smtClean="0"/>
              <a:t>niet</a:t>
            </a:r>
            <a:r>
              <a:rPr lang="en-US" dirty="0" smtClean="0"/>
              <a:t> </a:t>
            </a:r>
            <a:r>
              <a:rPr lang="en-US" dirty="0" err="1" smtClean="0"/>
              <a:t>zorg</a:t>
            </a:r>
            <a:r>
              <a:rPr lang="en-US" dirty="0" smtClean="0"/>
              <a:t>) </a:t>
            </a:r>
            <a:r>
              <a:rPr lang="en-US" dirty="0" err="1" smtClean="0"/>
              <a:t>inzetbaar</a:t>
            </a:r>
            <a:endParaRPr lang="en-US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err="1" smtClean="0"/>
              <a:t>geaccrediteerd</a:t>
            </a:r>
            <a:endParaRPr lang="nl-NL" dirty="0"/>
          </a:p>
        </p:txBody>
      </p:sp>
      <p:pic>
        <p:nvPicPr>
          <p:cNvPr id="7170" name="Picture 2" descr="https://ugc.futurelearn.com/uploads/images/fe/91/hero_fe917076-e30b-45d9-877f-3e973212675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176" y="2331874"/>
            <a:ext cx="4276725" cy="285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54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LINNEAN_PRESENTATIE_SLIDES12.jpg" descr="LINNEAN_PRESENTATIE_SLIDES1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90" y="11376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79" name="Rechthoek 1"/>
          <p:cNvSpPr txBox="1"/>
          <p:nvPr/>
        </p:nvSpPr>
        <p:spPr>
          <a:xfrm>
            <a:off x="609332" y="507851"/>
            <a:ext cx="7963049" cy="1823576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32146" rIns="32146">
            <a:spAutoFit/>
          </a:bodyPr>
          <a:lstStyle/>
          <a:p>
            <a:pPr defTabSz="410751" hangingPunct="0">
              <a:lnSpc>
                <a:spcPct val="150000"/>
              </a:lnSpc>
              <a:defRPr sz="5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3656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Wie zijn het Linnean initiatief</a:t>
            </a:r>
            <a:endParaRPr lang="en-US" sz="3656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410751" hangingPunct="0">
              <a:lnSpc>
                <a:spcPct val="150000"/>
              </a:lnSpc>
              <a:defRPr sz="5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844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41093" indent="-241093" defTabSz="410751" hangingPunct="0">
              <a:buSzPct val="100000"/>
              <a:buFont typeface="Arial"/>
              <a:buChar char="•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25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41093" indent="-241093" defTabSz="410751" hangingPunct="0">
              <a:buSzPct val="100000"/>
              <a:buFont typeface="Arial"/>
              <a:buChar char="•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25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6" name="Picture 2" descr="File:Netherlands embassy.JPG - Wikimedia Comm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086" y="1983653"/>
            <a:ext cx="1800000" cy="1640071"/>
          </a:xfrm>
          <a:prstGeom prst="wedgeEllipseCallout">
            <a:avLst>
              <a:gd name="adj1" fmla="val 46222"/>
              <a:gd name="adj2" fmla="val 50354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hoek 1"/>
          <p:cNvSpPr/>
          <p:nvPr/>
        </p:nvSpPr>
        <p:spPr>
          <a:xfrm>
            <a:off x="264375" y="4187738"/>
            <a:ext cx="29277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Beweging gestart in 2017 tijdens side-event ICHOM congres bij Nederlandse </a:t>
            </a:r>
            <a:r>
              <a:rPr lang="nl-NL" sz="2000" kern="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mbassase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in Washington DC aan </a:t>
            </a:r>
            <a:r>
              <a:rPr lang="nl-NL" sz="2000" b="1" i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Linnean avenue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000" b="1" i="1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LINNEAN_PRESENTATIE_SLIDES12.jpg" descr="LINNEAN_PRESENTATIE_SLIDES12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5074" y="4139734"/>
            <a:ext cx="3527362" cy="2660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3192087" y="4187738"/>
            <a:ext cx="35578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00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0+ leden: patiënten, professionals 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(1</a:t>
            </a:r>
            <a:r>
              <a:rPr lang="nl-NL" sz="2000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2</a:t>
            </a:r>
            <a:r>
              <a:rPr lang="nl-NL" sz="2000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, 3</a:t>
            </a:r>
            <a:r>
              <a:rPr lang="nl-NL" sz="2000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e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nl-NL" sz="2000" kern="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lijns</a:t>
            </a: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), beleidsmakers, onderzoekers, commerciële partijen, zorgverzekeraars</a:t>
            </a:r>
          </a:p>
        </p:txBody>
      </p:sp>
      <p:sp>
        <p:nvSpPr>
          <p:cNvPr id="4" name="Rechthoek 3"/>
          <p:cNvSpPr/>
          <p:nvPr/>
        </p:nvSpPr>
        <p:spPr>
          <a:xfrm>
            <a:off x="6462837" y="4200034"/>
            <a:ext cx="294107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pen, onafhankelijk, nationaal netwerk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nl-NL" sz="20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p persoonlijke titel 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   - voorlopers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   - wil starten</a:t>
            </a:r>
          </a:p>
          <a:p>
            <a:pPr defTabSz="410751" hangingPunct="0">
              <a:buSzPct val="100000"/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nl-NL" sz="2000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   - meer willen weten </a:t>
            </a: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2268" y="1927902"/>
            <a:ext cx="1800000" cy="1800000"/>
          </a:xfrm>
          <a:prstGeom prst="wedgeEllipseCallout">
            <a:avLst>
              <a:gd name="adj1" fmla="val 51310"/>
              <a:gd name="adj2" fmla="val 55230"/>
            </a:avLst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77447" y="1958872"/>
            <a:ext cx="1800000" cy="1800000"/>
          </a:xfrm>
          <a:prstGeom prst="wedgeEllipseCallout">
            <a:avLst>
              <a:gd name="adj1" fmla="val 44115"/>
              <a:gd name="adj2" fmla="val 55479"/>
            </a:avLst>
          </a:prstGeom>
        </p:spPr>
      </p:pic>
    </p:spTree>
    <p:extLst>
      <p:ext uri="{BB962C8B-B14F-4D97-AF65-F5344CB8AC3E}">
        <p14:creationId xmlns:p14="http://schemas.microsoft.com/office/powerpoint/2010/main" val="1723444037"/>
      </p:ext>
    </p:extLst>
  </p:cSld>
  <p:clrMapOvr>
    <a:masterClrMapping/>
  </p:clrMapOvr>
  <p:transition spd="med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– </a:t>
            </a:r>
            <a:r>
              <a:rPr lang="nl-NL" sz="1050" dirty="0" smtClean="0"/>
              <a:t>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b="1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dirty="0"/>
              <a:t>Rondvraag &amp; Afsluiting</a:t>
            </a:r>
            <a:r>
              <a:rPr lang="nl-NL" sz="1050" dirty="0">
                <a:latin typeface="Times New Roman" panose="02020603050405020304" pitchFamily="18" charset="0"/>
              </a:rPr>
              <a:t/>
            </a:r>
            <a:br>
              <a:rPr lang="nl-NL" sz="1050" dirty="0">
                <a:latin typeface="Times New Roman" panose="02020603050405020304" pitchFamily="18" charset="0"/>
              </a:rPr>
            </a:b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36331850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sz="2400" dirty="0"/>
              <a:t>Landelijke conferentie Uitkomstgerichte zorg</a:t>
            </a:r>
          </a:p>
        </p:txBody>
      </p:sp>
      <p:sp>
        <p:nvSpPr>
          <p:cNvPr id="7" name="Sub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smtClean="0"/>
              <a:t>8 juni </a:t>
            </a:r>
            <a:r>
              <a:rPr lang="nl-NL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1839484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2087724" y="1601342"/>
            <a:ext cx="5454606" cy="374912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l-NL" sz="1800" b="1" dirty="0">
              <a:solidFill>
                <a:srgbClr val="17375E"/>
              </a:solidFill>
            </a:endParaRPr>
          </a:p>
          <a:p>
            <a:pPr marL="0" indent="0">
              <a:buNone/>
            </a:pPr>
            <a:endParaRPr lang="nl-NL" sz="1800" b="1" dirty="0">
              <a:solidFill>
                <a:srgbClr val="17375E"/>
              </a:solidFill>
            </a:endParaRPr>
          </a:p>
          <a:p>
            <a:pPr marL="0" indent="0">
              <a:buNone/>
            </a:pPr>
            <a:r>
              <a:rPr lang="nl-NL" b="1" dirty="0">
                <a:solidFill>
                  <a:srgbClr val="000000"/>
                </a:solidFill>
                <a:latin typeface="+mj-lt"/>
              </a:rPr>
              <a:t>Doel:</a:t>
            </a:r>
            <a:r>
              <a:rPr lang="nl-NL" b="1" dirty="0">
                <a:solidFill>
                  <a:srgbClr val="17375E"/>
                </a:solidFill>
                <a:latin typeface="+mj-lt"/>
              </a:rPr>
              <a:t> </a:t>
            </a:r>
            <a:r>
              <a:rPr lang="nl-NL" sz="1800" b="1" dirty="0" err="1">
                <a:solidFill>
                  <a:srgbClr val="DC3C5A"/>
                </a:solidFill>
                <a:latin typeface="+mj-lt"/>
                <a:ea typeface="MS PGothic"/>
                <a:cs typeface="Arial" panose="020B0604020202020204" pitchFamily="34" charset="0"/>
              </a:rPr>
              <a:t>Aios</a:t>
            </a:r>
            <a:r>
              <a:rPr lang="nl-NL" sz="1800" b="1" dirty="0">
                <a:solidFill>
                  <a:srgbClr val="DC3C5A"/>
                </a:solidFill>
                <a:latin typeface="+mj-lt"/>
                <a:ea typeface="MS PGothic"/>
                <a:cs typeface="Arial" panose="020B0604020202020204" pitchFamily="34" charset="0"/>
              </a:rPr>
              <a:t> leren kijken met ‘</a:t>
            </a:r>
            <a:r>
              <a:rPr lang="nl-NL" sz="1800" b="1" dirty="0" err="1">
                <a:solidFill>
                  <a:srgbClr val="DC3C5A"/>
                </a:solidFill>
                <a:latin typeface="+mj-lt"/>
                <a:ea typeface="MS PGothic"/>
                <a:cs typeface="Arial" panose="020B0604020202020204" pitchFamily="34" charset="0"/>
              </a:rPr>
              <a:t>doelmatigheids</a:t>
            </a:r>
            <a:r>
              <a:rPr lang="nl-NL" sz="1800" b="1" dirty="0">
                <a:solidFill>
                  <a:srgbClr val="DC3C5A"/>
                </a:solidFill>
                <a:latin typeface="+mj-lt"/>
                <a:ea typeface="MS PGothic"/>
                <a:cs typeface="Arial" panose="020B0604020202020204" pitchFamily="34" charset="0"/>
              </a:rPr>
              <a:t>’ bril</a:t>
            </a:r>
          </a:p>
          <a:p>
            <a:pPr marL="0" indent="0">
              <a:buNone/>
              <a:tabLst>
                <a:tab pos="271463" algn="l"/>
              </a:tabLst>
            </a:pPr>
            <a:endParaRPr lang="nl-NL" sz="1350" dirty="0">
              <a:solidFill>
                <a:srgbClr val="17375E"/>
              </a:solidFill>
              <a:latin typeface="+mj-lt"/>
            </a:endParaRPr>
          </a:p>
          <a:p>
            <a:pPr marL="0" indent="0">
              <a:buNone/>
              <a:tabLst>
                <a:tab pos="271463" algn="l"/>
              </a:tabLst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Draagt bij aan:</a:t>
            </a:r>
          </a:p>
          <a:p>
            <a:pPr marL="0" indent="0">
              <a:buNone/>
              <a:tabLst>
                <a:tab pos="271463" algn="l"/>
              </a:tabLst>
            </a:pPr>
            <a:r>
              <a:rPr lang="nl-NL" sz="1800" b="1" dirty="0">
                <a:solidFill>
                  <a:srgbClr val="000000"/>
                </a:solidFill>
                <a:latin typeface="+mj-lt"/>
              </a:rPr>
              <a:t>Goede opleiding</a:t>
            </a:r>
          </a:p>
          <a:p>
            <a:pPr lvl="1">
              <a:buFont typeface="Wingdings" charset="2"/>
              <a:buChar char="§"/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verwerven van algemene competenties </a:t>
            </a:r>
          </a:p>
          <a:p>
            <a:pPr lvl="1">
              <a:buFont typeface="Wingdings" charset="2"/>
              <a:buChar char="§"/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goede opleiding</a:t>
            </a:r>
          </a:p>
          <a:p>
            <a:pPr lvl="1">
              <a:buFont typeface="Wingdings" charset="2"/>
              <a:buChar char="§"/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opbouwen CV management / organisatie</a:t>
            </a:r>
          </a:p>
          <a:p>
            <a:pPr marL="71437" indent="0">
              <a:buNone/>
            </a:pPr>
            <a:r>
              <a:rPr lang="nl-NL" sz="1800" b="1" dirty="0">
                <a:solidFill>
                  <a:srgbClr val="000000"/>
                </a:solidFill>
                <a:latin typeface="+mj-lt"/>
              </a:rPr>
              <a:t>Goede zorg</a:t>
            </a:r>
          </a:p>
          <a:p>
            <a:pPr lvl="1">
              <a:buFont typeface="Wingdings" charset="2"/>
              <a:buChar char="§"/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houdbaarheid van zorg</a:t>
            </a:r>
          </a:p>
          <a:p>
            <a:pPr lvl="1">
              <a:buFont typeface="Wingdings" charset="2"/>
              <a:buChar char="§"/>
            </a:pPr>
            <a:r>
              <a:rPr lang="nl-NL" sz="1350" dirty="0">
                <a:solidFill>
                  <a:srgbClr val="000000"/>
                </a:solidFill>
                <a:latin typeface="+mj-lt"/>
              </a:rPr>
              <a:t>kwaliteit van zorg</a:t>
            </a: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84703" y="3104030"/>
            <a:ext cx="2106234" cy="2106234"/>
          </a:xfrm>
          <a:prstGeom prst="rect">
            <a:avLst/>
          </a:prstGeom>
        </p:spPr>
      </p:pic>
      <p:sp>
        <p:nvSpPr>
          <p:cNvPr id="2" name="Rechthoek 1"/>
          <p:cNvSpPr/>
          <p:nvPr/>
        </p:nvSpPr>
        <p:spPr>
          <a:xfrm>
            <a:off x="1883187" y="1208715"/>
            <a:ext cx="6175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spcBef>
                <a:spcPct val="0"/>
              </a:spcBef>
              <a:spcAft>
                <a:spcPts val="900"/>
              </a:spcAft>
            </a:pPr>
            <a:r>
              <a:rPr lang="nl-NL" sz="2400" b="1" dirty="0">
                <a:solidFill>
                  <a:srgbClr val="DC3C5A"/>
                </a:solidFill>
                <a:latin typeface="Calibri"/>
                <a:ea typeface="MS PGothic"/>
                <a:cs typeface="Arial" panose="020B0604020202020204" pitchFamily="34" charset="0"/>
              </a:rPr>
              <a:t>Opleiden in het leveren van Doelmatige zorg</a:t>
            </a:r>
          </a:p>
        </p:txBody>
      </p:sp>
    </p:spTree>
    <p:extLst>
      <p:ext uri="{BB962C8B-B14F-4D97-AF65-F5344CB8AC3E}">
        <p14:creationId xmlns:p14="http://schemas.microsoft.com/office/powerpoint/2010/main" val="44348061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15156" y="1042097"/>
            <a:ext cx="6670187" cy="697559"/>
          </a:xfrm>
        </p:spPr>
        <p:txBody>
          <a:bodyPr>
            <a:noAutofit/>
          </a:bodyPr>
          <a:lstStyle/>
          <a:p>
            <a:r>
              <a:rPr lang="nl-NL" b="1" dirty="0" smtClean="0"/>
              <a:t>Opleiden in </a:t>
            </a:r>
            <a:r>
              <a:rPr lang="nl-NL" b="1" dirty="0"/>
              <a:t>relevante </a:t>
            </a:r>
            <a:r>
              <a:rPr lang="nl-NL" b="1" dirty="0" smtClean="0"/>
              <a:t>(maatschappelijke) thema’s</a:t>
            </a:r>
            <a:endParaRPr lang="nl-NL" b="1" dirty="0"/>
          </a:p>
        </p:txBody>
      </p:sp>
      <p:grpSp>
        <p:nvGrpSpPr>
          <p:cNvPr id="4" name="Groep 3"/>
          <p:cNvGrpSpPr/>
          <p:nvPr/>
        </p:nvGrpSpPr>
        <p:grpSpPr>
          <a:xfrm>
            <a:off x="1842286" y="1864412"/>
            <a:ext cx="5583973" cy="3691201"/>
            <a:chOff x="2783633" y="1444255"/>
            <a:chExt cx="7445297" cy="4921601"/>
          </a:xfrm>
        </p:grpSpPr>
        <p:sp>
          <p:nvSpPr>
            <p:cNvPr id="5" name="Vijfhoek 4"/>
            <p:cNvSpPr/>
            <p:nvPr/>
          </p:nvSpPr>
          <p:spPr>
            <a:xfrm rot="5400000">
              <a:off x="565368" y="3775056"/>
              <a:ext cx="4809065" cy="372536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nl-NL" sz="1350" dirty="0">
                  <a:solidFill>
                    <a:srgbClr val="FFFFFF"/>
                  </a:solidFill>
                  <a:latin typeface="Calibri"/>
                </a:rPr>
                <a:t>VERDIEPING \ FOCUS</a:t>
              </a:r>
            </a:p>
          </p:txBody>
        </p:sp>
        <p:grpSp>
          <p:nvGrpSpPr>
            <p:cNvPr id="6" name="Groep 5"/>
            <p:cNvGrpSpPr/>
            <p:nvPr/>
          </p:nvGrpSpPr>
          <p:grpSpPr>
            <a:xfrm>
              <a:off x="3652107" y="1556792"/>
              <a:ext cx="4639730" cy="4707464"/>
              <a:chOff x="2549811" y="1556792"/>
              <a:chExt cx="4639730" cy="4707464"/>
            </a:xfrm>
          </p:grpSpPr>
          <p:cxnSp>
            <p:nvCxnSpPr>
              <p:cNvPr id="15" name="Rechte verbindingslijn 14"/>
              <p:cNvCxnSpPr>
                <a:stCxn id="17" idx="0"/>
              </p:cNvCxnSpPr>
              <p:nvPr/>
            </p:nvCxnSpPr>
            <p:spPr>
              <a:xfrm rot="10800000" flipH="1">
                <a:off x="4867177" y="1573725"/>
                <a:ext cx="2311400" cy="4690531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/>
              <p:cNvCxnSpPr>
                <a:stCxn id="17" idx="0"/>
              </p:cNvCxnSpPr>
              <p:nvPr/>
            </p:nvCxnSpPr>
            <p:spPr>
              <a:xfrm rot="10800000">
                <a:off x="2555777" y="1573725"/>
                <a:ext cx="2311400" cy="4690531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Gelijkbenige driehoek 16"/>
              <p:cNvSpPr/>
              <p:nvPr/>
            </p:nvSpPr>
            <p:spPr>
              <a:xfrm rot="10800000">
                <a:off x="2555777" y="1573725"/>
                <a:ext cx="4622800" cy="4690531"/>
              </a:xfrm>
              <a:prstGeom prst="triangle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nl-NL" sz="135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8" name="Trapezium 17"/>
              <p:cNvSpPr/>
              <p:nvPr/>
            </p:nvSpPr>
            <p:spPr>
              <a:xfrm>
                <a:off x="3010336" y="1565837"/>
                <a:ext cx="3640666" cy="1006955"/>
              </a:xfrm>
              <a:prstGeom prst="trapezoid">
                <a:avLst>
                  <a:gd name="adj" fmla="val 0"/>
                </a:avLst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OVERLEGGEN</a:t>
                </a:r>
              </a:p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CASUISTIEK BESPREKING</a:t>
                </a:r>
              </a:p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VOOR-NA BESPREKING POLI</a:t>
                </a:r>
              </a:p>
            </p:txBody>
          </p:sp>
          <p:sp>
            <p:nvSpPr>
              <p:cNvPr id="19" name="Trapezium 18"/>
              <p:cNvSpPr/>
              <p:nvPr/>
            </p:nvSpPr>
            <p:spPr>
              <a:xfrm>
                <a:off x="3485914" y="2572792"/>
                <a:ext cx="2772302" cy="880490"/>
              </a:xfrm>
              <a:prstGeom prst="trapezoid">
                <a:avLst>
                  <a:gd name="adj" fmla="val 0"/>
                </a:avLst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PROJECTEN</a:t>
                </a:r>
              </a:p>
            </p:txBody>
          </p:sp>
          <p:sp>
            <p:nvSpPr>
              <p:cNvPr id="20" name="Trapezium 19"/>
              <p:cNvSpPr/>
              <p:nvPr/>
            </p:nvSpPr>
            <p:spPr>
              <a:xfrm>
                <a:off x="3955250" y="3487191"/>
                <a:ext cx="1811868" cy="914401"/>
              </a:xfrm>
              <a:prstGeom prst="trapezoid">
                <a:avLst>
                  <a:gd name="adj" fmla="val 0"/>
                </a:avLst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CURS  ONDERWIJS</a:t>
                </a:r>
              </a:p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MODULEN</a:t>
                </a:r>
              </a:p>
            </p:txBody>
          </p:sp>
          <p:sp>
            <p:nvSpPr>
              <p:cNvPr id="21" name="Rechthoek 20"/>
              <p:cNvSpPr/>
              <p:nvPr/>
            </p:nvSpPr>
            <p:spPr>
              <a:xfrm>
                <a:off x="4277015" y="4689456"/>
                <a:ext cx="1168400" cy="372532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r>
                  <a:rPr lang="nl-NL" sz="1350" dirty="0">
                    <a:solidFill>
                      <a:srgbClr val="FFFFFF"/>
                    </a:solidFill>
                    <a:latin typeface="Calibri"/>
                  </a:rPr>
                  <a:t>TRAJECT</a:t>
                </a:r>
              </a:p>
            </p:txBody>
          </p:sp>
          <p:cxnSp>
            <p:nvCxnSpPr>
              <p:cNvPr id="22" name="Rechte verbindingslijn 21"/>
              <p:cNvCxnSpPr/>
              <p:nvPr/>
            </p:nvCxnSpPr>
            <p:spPr>
              <a:xfrm rot="10800000" flipH="1">
                <a:off x="2549811" y="1556792"/>
                <a:ext cx="4639730" cy="0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/>
              <p:cNvCxnSpPr/>
              <p:nvPr/>
            </p:nvCxnSpPr>
            <p:spPr>
              <a:xfrm rot="10800000" flipH="1">
                <a:off x="3040884" y="2538903"/>
                <a:ext cx="3640666" cy="0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/>
              <p:cNvCxnSpPr/>
              <p:nvPr/>
            </p:nvCxnSpPr>
            <p:spPr>
              <a:xfrm rot="10800000" flipH="1">
                <a:off x="3447284" y="3453282"/>
                <a:ext cx="2810933" cy="0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/>
              <p:cNvCxnSpPr/>
              <p:nvPr/>
            </p:nvCxnSpPr>
            <p:spPr>
              <a:xfrm rot="10800000" flipH="1">
                <a:off x="3955252" y="4401592"/>
                <a:ext cx="1811867" cy="0"/>
              </a:xfrm>
              <a:prstGeom prst="line">
                <a:avLst/>
              </a:prstGeom>
              <a:ln w="50800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" name="Rechte verbindingslijn 6"/>
            <p:cNvCxnSpPr/>
            <p:nvPr/>
          </p:nvCxnSpPr>
          <p:spPr>
            <a:xfrm>
              <a:off x="6106344" y="6264256"/>
              <a:ext cx="3888432" cy="0"/>
            </a:xfrm>
            <a:prstGeom prst="line">
              <a:avLst/>
            </a:prstGeom>
            <a:ln w="34925" cap="sq">
              <a:prstDash val="sysDash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Rechte verbindingslijn 7"/>
            <p:cNvCxnSpPr/>
            <p:nvPr/>
          </p:nvCxnSpPr>
          <p:spPr>
            <a:xfrm>
              <a:off x="6869416" y="4434358"/>
              <a:ext cx="3332489" cy="2755"/>
            </a:xfrm>
            <a:prstGeom prst="line">
              <a:avLst/>
            </a:prstGeom>
            <a:ln w="34925" cap="sq">
              <a:prstDash val="sysDash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Rechte verbindingslijn 8"/>
            <p:cNvCxnSpPr/>
            <p:nvPr/>
          </p:nvCxnSpPr>
          <p:spPr>
            <a:xfrm>
              <a:off x="7360514" y="3484743"/>
              <a:ext cx="2841391" cy="20758"/>
            </a:xfrm>
            <a:prstGeom prst="line">
              <a:avLst/>
            </a:prstGeom>
            <a:ln w="34925" cap="sq">
              <a:prstDash val="sysDash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chte verbindingslijn 9"/>
            <p:cNvCxnSpPr/>
            <p:nvPr/>
          </p:nvCxnSpPr>
          <p:spPr>
            <a:xfrm>
              <a:off x="7946740" y="2537884"/>
              <a:ext cx="2255164" cy="7888"/>
            </a:xfrm>
            <a:prstGeom prst="line">
              <a:avLst/>
            </a:prstGeom>
            <a:ln w="34925" cap="sq">
              <a:prstDash val="sysDash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hthoek 10"/>
            <p:cNvSpPr/>
            <p:nvPr/>
          </p:nvSpPr>
          <p:spPr>
            <a:xfrm>
              <a:off x="8473711" y="1444255"/>
              <a:ext cx="1728192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Aandacht voor doelmatigheid  in dagelijkse praktijk</a:t>
              </a:r>
            </a:p>
            <a:p>
              <a:pPr algn="r" defTabSz="457200"/>
              <a:r>
                <a:rPr lang="nl-NL" sz="1200" b="1" dirty="0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alle </a:t>
              </a:r>
              <a:r>
                <a:rPr lang="nl-NL" sz="1200" b="1" dirty="0" err="1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aios</a:t>
              </a:r>
              <a:endParaRPr lang="nl-NL" sz="1200" b="1" dirty="0">
                <a:solidFill>
                  <a:srgbClr val="0A385B">
                    <a:lumMod val="50000"/>
                  </a:srgbClr>
                </a:solidFill>
                <a:latin typeface="Calibri"/>
              </a:endParaRPr>
            </a:p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 </a:t>
              </a:r>
            </a:p>
          </p:txBody>
        </p:sp>
        <p:sp>
          <p:nvSpPr>
            <p:cNvPr id="12" name="Rechthoek 11"/>
            <p:cNvSpPr/>
            <p:nvPr/>
          </p:nvSpPr>
          <p:spPr>
            <a:xfrm>
              <a:off x="7753299" y="2551395"/>
              <a:ext cx="2475631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Doelmatigheidsprojecten op afdeling / instelling</a:t>
              </a:r>
            </a:p>
            <a:p>
              <a:pPr algn="r" defTabSz="457200"/>
              <a:r>
                <a:rPr lang="nl-NL" sz="1200" b="1" dirty="0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gemotiveerde </a:t>
              </a:r>
              <a:r>
                <a:rPr lang="nl-NL" sz="1200" b="1" dirty="0" err="1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aios</a:t>
              </a:r>
              <a:endParaRPr lang="nl-NL" sz="1200" b="1" dirty="0">
                <a:solidFill>
                  <a:srgbClr val="0A385B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3" name="Rechthoek 12"/>
            <p:cNvSpPr/>
            <p:nvPr/>
          </p:nvSpPr>
          <p:spPr>
            <a:xfrm>
              <a:off x="7105393" y="3483006"/>
              <a:ext cx="3106587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Discipline Overstijgend Onderwijs</a:t>
              </a:r>
            </a:p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Verdiepende cursus / modulen</a:t>
              </a:r>
            </a:p>
            <a:p>
              <a:pPr algn="r" defTabSz="457200"/>
              <a:endParaRPr lang="nl-NL" sz="600" dirty="0">
                <a:solidFill>
                  <a:srgbClr val="17375E"/>
                </a:solidFill>
                <a:latin typeface="Calibri"/>
              </a:endParaRPr>
            </a:p>
            <a:p>
              <a:pPr algn="r" defTabSz="457200"/>
              <a:r>
                <a:rPr lang="nl-NL" sz="1200" b="1" dirty="0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gemotiveerde </a:t>
              </a:r>
              <a:r>
                <a:rPr lang="nl-NL" sz="1200" b="1" dirty="0" err="1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aios</a:t>
              </a:r>
              <a:endParaRPr lang="nl-NL" sz="1200" b="1" dirty="0">
                <a:solidFill>
                  <a:srgbClr val="0A385B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14" name="Rechthoek 13"/>
            <p:cNvSpPr/>
            <p:nvPr/>
          </p:nvSpPr>
          <p:spPr>
            <a:xfrm>
              <a:off x="6834078" y="4615732"/>
              <a:ext cx="3349867" cy="1600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Onderzoek en uitvoering groter doelmatigheidsproject op afdeling / instelling / OOR</a:t>
              </a:r>
            </a:p>
            <a:p>
              <a:pPr algn="r" defTabSz="457200"/>
              <a:endParaRPr lang="nl-NL" sz="1200" dirty="0">
                <a:solidFill>
                  <a:srgbClr val="17375E"/>
                </a:solidFill>
                <a:latin typeface="Calibri"/>
              </a:endParaRPr>
            </a:p>
            <a:p>
              <a:pPr algn="r" defTabSz="457200"/>
              <a:r>
                <a:rPr lang="nl-NL" sz="1200" dirty="0">
                  <a:solidFill>
                    <a:srgbClr val="17375E"/>
                  </a:solidFill>
                  <a:latin typeface="Calibri"/>
                </a:rPr>
                <a:t>Profileringsstage / differentiatiefase</a:t>
              </a:r>
            </a:p>
            <a:p>
              <a:pPr algn="r" defTabSz="457200"/>
              <a:r>
                <a:rPr lang="nl-NL" sz="1200" b="1" dirty="0" err="1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aios</a:t>
              </a:r>
              <a:r>
                <a:rPr lang="nl-NL" sz="1200" b="1" dirty="0">
                  <a:solidFill>
                    <a:srgbClr val="0A385B">
                      <a:lumMod val="50000"/>
                    </a:srgbClr>
                  </a:solidFill>
                  <a:latin typeface="Calibri"/>
                </a:rPr>
                <a:t> met specifieke interes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052326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C852FC-6636-A747-9664-AD75CA83AE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886C664-AB27-D04C-9D69-4C0903A79B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83B01AA9-9934-8D40-83DD-D73F732B04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b="12573"/>
          <a:stretch/>
        </p:blipFill>
        <p:spPr>
          <a:xfrm>
            <a:off x="457200" y="1074275"/>
            <a:ext cx="8229600" cy="449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65254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C852FC-6636-A747-9664-AD75CA83AE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886C664-AB27-D04C-9D69-4C0903A79B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4EE3BF1D-AD8B-ED49-9201-58C9E46E52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654"/>
          <a:stretch/>
        </p:blipFill>
        <p:spPr>
          <a:xfrm>
            <a:off x="457200" y="1074277"/>
            <a:ext cx="8229600" cy="48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4399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90854D-3B00-884C-AD24-67580E70D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201" y="1010653"/>
            <a:ext cx="6625476" cy="697559"/>
          </a:xfrm>
        </p:spPr>
        <p:txBody>
          <a:bodyPr>
            <a:normAutofit fontScale="90000"/>
          </a:bodyPr>
          <a:lstStyle/>
          <a:p>
            <a:r>
              <a:rPr lang="nl-NL" b="1" dirty="0"/>
              <a:t>Online courses: </a:t>
            </a:r>
            <a:r>
              <a:rPr lang="nl-NL" b="1" dirty="0" smtClean="0"/>
              <a:t>Kennis </a:t>
            </a:r>
            <a:r>
              <a:rPr lang="nl-NL" b="1" dirty="0"/>
              <a:t>van zorgkosten en </a:t>
            </a:r>
            <a:r>
              <a:rPr lang="nl-NL" b="1" dirty="0" err="1"/>
              <a:t>W</a:t>
            </a:r>
            <a:r>
              <a:rPr lang="nl-NL" b="1" dirty="0" err="1" smtClean="0"/>
              <a:t>aardegedreven</a:t>
            </a:r>
            <a:r>
              <a:rPr lang="nl-NL" b="1" dirty="0" smtClean="0"/>
              <a:t> zorg &amp; </a:t>
            </a:r>
            <a:r>
              <a:rPr lang="nl-NL" b="1" dirty="0"/>
              <a:t>V</a:t>
            </a:r>
            <a:r>
              <a:rPr lang="nl-NL" b="1" dirty="0" smtClean="0"/>
              <a:t>erandermanagement </a:t>
            </a:r>
            <a:endParaRPr lang="nl-NL" b="1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BCC5869-B45F-9E4E-9F9D-ECF88C870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r>
              <a:rPr lang="nl-NL" dirty="0">
                <a:latin typeface="Calibri"/>
              </a:rPr>
              <a:t>Bewustzijnsproject</a:t>
            </a:r>
          </a:p>
        </p:txBody>
      </p:sp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57E5E434-B2D0-D44E-8616-96D49F30296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70690" y="1930362"/>
            <a:ext cx="4915028" cy="3924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2173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0889F52B-E6D8-6B4F-8BDE-342B8E693A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857" b="14144"/>
          <a:stretch/>
        </p:blipFill>
        <p:spPr>
          <a:xfrm>
            <a:off x="412377" y="2563072"/>
            <a:ext cx="8211671" cy="2882428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51348CD7-8967-3242-8D68-61EDBCADAF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8926" y="962025"/>
            <a:ext cx="2010095" cy="1534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18184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50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t>Ruimte voor de voetnoot | xx maand xxxx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051DF8-406B-5242-9A38-0E89485B35FF}" type="slidenum">
              <a:rPr kumimoji="0" lang="nl-NL" sz="675" b="0" i="0" u="none" strike="noStrike" kern="1200" cap="none" spc="0" normalizeH="0" baseline="0" noProof="0">
                <a:ln>
                  <a:noFill/>
                </a:ln>
                <a:solidFill>
                  <a:srgbClr val="110E72"/>
                </a:solidFill>
                <a:effectLst/>
                <a:uLnTx/>
                <a:uFillTx/>
                <a:latin typeface="CircularPro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nl-NL" sz="675" b="0" i="0" u="none" strike="noStrike" kern="1200" cap="none" spc="0" normalizeH="0" baseline="0" noProof="0">
              <a:ln>
                <a:noFill/>
              </a:ln>
              <a:solidFill>
                <a:srgbClr val="110E72"/>
              </a:solidFill>
              <a:effectLst/>
              <a:uLnTx/>
              <a:uFillTx/>
              <a:latin typeface="CircularPro Book"/>
              <a:ea typeface="+mn-ea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/>
          </a:bodyPr>
          <a:lstStyle/>
          <a:p>
            <a:endParaRPr lang="nl-NL"/>
          </a:p>
        </p:txBody>
      </p:sp>
      <p:sp>
        <p:nvSpPr>
          <p:cNvPr id="6" name="Tijdelijke aanduiding voor inhou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elkom – Willem Jan Bos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Introductie </a:t>
            </a:r>
            <a:r>
              <a:rPr lang="nl-NL" sz="1050" dirty="0"/>
              <a:t>Linnean Initiatief en </a:t>
            </a:r>
            <a:r>
              <a:rPr lang="nl-NL" sz="1050" dirty="0" smtClean="0"/>
              <a:t>de </a:t>
            </a:r>
            <a:r>
              <a:rPr lang="nl-NL" sz="1050" dirty="0"/>
              <a:t>Werkgroep Onderwijs &amp; Opleiden – Willem Jan Bos </a:t>
            </a:r>
            <a:endParaRPr lang="nl-NL" sz="1050" dirty="0" smtClean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Advies </a:t>
            </a:r>
            <a:r>
              <a:rPr lang="nl-NL" sz="1050" dirty="0"/>
              <a:t>‘Waardegedreven Zorg: een noodzakelijke basis in de opleidingen van zorgprofessionals’ – </a:t>
            </a:r>
            <a:r>
              <a:rPr lang="nl-NL" sz="1050" dirty="0" smtClean="0"/>
              <a:t>Anne </a:t>
            </a:r>
            <a:r>
              <a:rPr lang="nl-NL" sz="1050" dirty="0" err="1" smtClean="0"/>
              <a:t>Stiggelbout</a:t>
            </a:r>
            <a:endParaRPr lang="nl-NL" sz="1050" dirty="0"/>
          </a:p>
          <a:p>
            <a:pPr marL="257175" indent="-257175">
              <a:buFont typeface="+mj-lt"/>
              <a:buAutoNum type="arabicPeriod"/>
            </a:pPr>
            <a:r>
              <a:rPr lang="nl-NL" sz="1050" dirty="0" smtClean="0"/>
              <a:t>Waardegedreven </a:t>
            </a:r>
            <a:r>
              <a:rPr lang="nl-NL" sz="1050" dirty="0"/>
              <a:t>zorg-onderwijs in de praktijk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Advanced Training Program - Kees Ahaus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WGZ-educatie in het St. Antonius Ziekenhuis - Paul van der Nat</a:t>
            </a:r>
          </a:p>
          <a:p>
            <a:pPr marL="392175" lvl="1" indent="-257175">
              <a:buFont typeface="+mj-lt"/>
              <a:buAutoNum type="alphaLcParenR"/>
            </a:pPr>
            <a:r>
              <a:rPr lang="nl-NL" sz="1050" dirty="0"/>
              <a:t>Het Bewustzijnsproject - Laurents Stassen</a:t>
            </a:r>
          </a:p>
          <a:p>
            <a:pPr marL="257175" indent="-257175">
              <a:buFont typeface="+mj-lt"/>
              <a:buAutoNum type="arabicPeriod"/>
            </a:pPr>
            <a:r>
              <a:rPr lang="nl-NL" sz="1050" b="1" dirty="0"/>
              <a:t>Rondvraag &amp; Afsluiting</a:t>
            </a:r>
            <a:r>
              <a:rPr lang="nl-NL" sz="1050" b="1" dirty="0">
                <a:latin typeface="Times New Roman" panose="02020603050405020304" pitchFamily="18" charset="0"/>
              </a:rPr>
              <a:t/>
            </a:r>
            <a:br>
              <a:rPr lang="nl-NL" sz="1050" b="1" dirty="0">
                <a:latin typeface="Times New Roman" panose="02020603050405020304" pitchFamily="18" charset="0"/>
              </a:rPr>
            </a:br>
            <a:endParaRPr lang="nl-NL" sz="1050" b="1" dirty="0"/>
          </a:p>
        </p:txBody>
      </p:sp>
    </p:spTree>
    <p:extLst>
      <p:ext uri="{BB962C8B-B14F-4D97-AF65-F5344CB8AC3E}">
        <p14:creationId xmlns:p14="http://schemas.microsoft.com/office/powerpoint/2010/main" val="469289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LINNEAN_PRESENTATIE_SLIDES5.jpg" descr="LINNEAN_PRESENTATIE_SLIDES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5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1" name="Rechthoek 10"/>
          <p:cNvSpPr/>
          <p:nvPr/>
        </p:nvSpPr>
        <p:spPr>
          <a:xfrm>
            <a:off x="1147202" y="3295458"/>
            <a:ext cx="7061084" cy="331758"/>
          </a:xfrm>
          <a:prstGeom prst="rect">
            <a:avLst/>
          </a:prstGeom>
          <a:solidFill>
            <a:srgbClr val="F3665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endParaRPr lang="nl-NL" sz="1687" kern="0">
              <a:solidFill>
                <a:srgbClr val="000000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Rechthoek 15"/>
          <p:cNvSpPr/>
          <p:nvPr/>
        </p:nvSpPr>
        <p:spPr>
          <a:xfrm rot="5400000">
            <a:off x="1881260" y="-118314"/>
            <a:ext cx="6605319" cy="7347309"/>
          </a:xfrm>
          <a:prstGeom prst="rect">
            <a:avLst/>
          </a:prstGeom>
          <a:solidFill>
            <a:srgbClr val="F3665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50800" tIns="50800" rIns="50800" bIns="50800" spcCol="3810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957" y="779318"/>
            <a:ext cx="3727957" cy="3600443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" name="Tekstvak 3"/>
          <p:cNvSpPr txBox="1"/>
          <p:nvPr/>
        </p:nvSpPr>
        <p:spPr>
          <a:xfrm>
            <a:off x="832339" y="3406992"/>
            <a:ext cx="1186223" cy="5913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Willem Jan </a:t>
            </a:r>
          </a:p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sym typeface="Helvetica Neue Medium"/>
              </a:rPr>
              <a:t>Bos</a:t>
            </a:r>
          </a:p>
        </p:txBody>
      </p:sp>
      <p:sp>
        <p:nvSpPr>
          <p:cNvPr id="13318" name="Rechthoek 4"/>
          <p:cNvSpPr>
            <a:spLocks noChangeArrowheads="1"/>
          </p:cNvSpPr>
          <p:nvPr/>
        </p:nvSpPr>
        <p:spPr bwMode="auto">
          <a:xfrm>
            <a:off x="612800" y="3425652"/>
            <a:ext cx="4572000" cy="611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Arie </a:t>
            </a:r>
          </a:p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Franx</a:t>
            </a:r>
          </a:p>
        </p:txBody>
      </p:sp>
      <p:pic>
        <p:nvPicPr>
          <p:cNvPr id="13319" name="Picture 4" descr="https://www.linnean.nl/inspiratie/beeldbank/239392.jpg?width=1200&amp;amp;height=-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8837" y="779115"/>
            <a:ext cx="2869778" cy="2715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0" name="334560EC-0C14-4655-80D1-A7EC2D8212E4" descr="334560EC-0C14-4655-80D1-A7EC2D8212E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8837" y="3608710"/>
            <a:ext cx="2869778" cy="2152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1" name="Rechthoek 7"/>
          <p:cNvSpPr>
            <a:spLocks noChangeArrowheads="1"/>
          </p:cNvSpPr>
          <p:nvPr/>
        </p:nvSpPr>
        <p:spPr bwMode="auto">
          <a:xfrm>
            <a:off x="5473898" y="2654350"/>
            <a:ext cx="4572000" cy="611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Marloes</a:t>
            </a:r>
          </a:p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Zuidgeest</a:t>
            </a:r>
          </a:p>
        </p:txBody>
      </p:sp>
      <p:sp>
        <p:nvSpPr>
          <p:cNvPr id="13322" name="Rechthoek 8"/>
          <p:cNvSpPr>
            <a:spLocks noChangeArrowheads="1"/>
          </p:cNvSpPr>
          <p:nvPr/>
        </p:nvSpPr>
        <p:spPr bwMode="auto">
          <a:xfrm>
            <a:off x="5814343" y="3896693"/>
            <a:ext cx="4572000" cy="611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Matthijs </a:t>
            </a:r>
          </a:p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1687">
                <a:solidFill>
                  <a:srgbClr val="FFFFFF"/>
                </a:solidFill>
                <a:latin typeface="Helvetica Neue Medium"/>
                <a:sym typeface="Helvetica Neue Medium"/>
              </a:rPr>
              <a:t>van der Linde</a:t>
            </a:r>
          </a:p>
        </p:txBody>
      </p:sp>
      <p:cxnSp>
        <p:nvCxnSpPr>
          <p:cNvPr id="10" name="Rechte verbindingslijn met pijl 9"/>
          <p:cNvCxnSpPr/>
          <p:nvPr/>
        </p:nvCxnSpPr>
        <p:spPr>
          <a:xfrm flipH="1">
            <a:off x="7223592" y="4582506"/>
            <a:ext cx="220616" cy="402863"/>
          </a:xfrm>
          <a:prstGeom prst="straightConnector1">
            <a:avLst/>
          </a:prstGeom>
          <a:noFill/>
          <a:ln w="25400" cap="flat">
            <a:solidFill>
              <a:schemeClr val="bg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Tekstvak 11"/>
          <p:cNvSpPr txBox="1"/>
          <p:nvPr/>
        </p:nvSpPr>
        <p:spPr>
          <a:xfrm>
            <a:off x="1543501" y="252681"/>
            <a:ext cx="1102867" cy="3317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Voorzitters</a:t>
            </a:r>
            <a:endParaRPr lang="nl-NL" sz="1687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6200704" y="310535"/>
            <a:ext cx="1380186" cy="3317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Projectleiders</a:t>
            </a:r>
            <a:endParaRPr lang="nl-NL" sz="1687" kern="0" dirty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278174" y="6144724"/>
            <a:ext cx="7736093" cy="3317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sym typeface="Helvetica Neue Medium"/>
              </a:rPr>
              <a:t>…en  &gt;1000 leden uit alle gelederen van de Nederlandse gezondheidszorg</a:t>
            </a:r>
          </a:p>
        </p:txBody>
      </p:sp>
    </p:spTree>
    <p:extLst>
      <p:ext uri="{BB962C8B-B14F-4D97-AF65-F5344CB8AC3E}">
        <p14:creationId xmlns:p14="http://schemas.microsoft.com/office/powerpoint/2010/main" val="166365657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3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1507" name="Afbeelding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922" y="237754"/>
            <a:ext cx="5822156" cy="6382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737961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hthoek 2"/>
          <p:cNvSpPr>
            <a:spLocks noChangeArrowheads="1"/>
          </p:cNvSpPr>
          <p:nvPr/>
        </p:nvSpPr>
        <p:spPr bwMode="auto">
          <a:xfrm>
            <a:off x="981150" y="301377"/>
            <a:ext cx="4521046" cy="93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41075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3656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t is onze ambitie?</a:t>
            </a:r>
            <a:endParaRPr lang="en-US" altLang="en-US" sz="3656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339" name="Rechthoek 8"/>
          <p:cNvSpPr>
            <a:spLocks noChangeArrowheads="1"/>
          </p:cNvSpPr>
          <p:nvPr/>
        </p:nvSpPr>
        <p:spPr bwMode="auto">
          <a:xfrm>
            <a:off x="250032" y="2311673"/>
            <a:ext cx="4003849" cy="262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1075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3656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lementatie van waardegedreven</a:t>
            </a:r>
          </a:p>
          <a:p>
            <a:pPr defTabSz="41075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3656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org versnellen</a:t>
            </a:r>
            <a:endParaRPr lang="en-US" altLang="en-US" sz="3656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LINNEAN_PRESENTATIE_SLIDES5.jpg" descr="LINNEAN_PRESENTATIE_SLIDES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5" y="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 rot="5400000">
            <a:off x="1881260" y="-118314"/>
            <a:ext cx="6605319" cy="7347309"/>
          </a:xfrm>
          <a:prstGeom prst="rect">
            <a:avLst/>
          </a:prstGeom>
          <a:solidFill>
            <a:srgbClr val="F3665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50800" tIns="50800" rIns="50800" bIns="50800" spcCol="3810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67353" y="1197800"/>
            <a:ext cx="3795974" cy="5390107"/>
          </a:xfrm>
          <a:prstGeom prst="wedgeEllipseCallout">
            <a:avLst>
              <a:gd name="adj1" fmla="val 47777"/>
              <a:gd name="adj2" fmla="val 38562"/>
            </a:avLst>
          </a:prstGeom>
        </p:spPr>
      </p:pic>
      <p:sp>
        <p:nvSpPr>
          <p:cNvPr id="7" name="Rechthoek 6"/>
          <p:cNvSpPr/>
          <p:nvPr/>
        </p:nvSpPr>
        <p:spPr>
          <a:xfrm>
            <a:off x="582571" y="1594067"/>
            <a:ext cx="3469219" cy="4331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10751" hangingPunct="0"/>
            <a:r>
              <a:rPr lang="nl-NL" sz="2215" b="1" kern="0" dirty="0">
                <a:solidFill>
                  <a:schemeClr val="bg1"/>
                </a:solidFill>
                <a:latin typeface="Helvetica Neue Medium"/>
                <a:sym typeface="Arial"/>
              </a:rPr>
              <a:t>Wat zoeken onze leden?</a:t>
            </a:r>
            <a:endParaRPr lang="en-US" sz="1687" b="1" kern="0" dirty="0">
              <a:solidFill>
                <a:schemeClr val="bg1"/>
              </a:solidFill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61015480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"/>
          </p:nvPr>
        </p:nvSpPr>
        <p:spPr>
          <a:xfrm>
            <a:off x="892969" y="4473774"/>
            <a:ext cx="7358063" cy="324818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endParaRPr lang="en-US"/>
          </a:p>
        </p:txBody>
      </p:sp>
      <p:sp>
        <p:nvSpPr>
          <p:cNvPr id="17411" name="Tijdelijke aanduiding voor tekst 2"/>
          <p:cNvSpPr txBox="1">
            <a:spLocks noGrp="1"/>
          </p:cNvSpPr>
          <p:nvPr>
            <p:ph type="body" sz="quarter" idx="13"/>
          </p:nvPr>
        </p:nvSpPr>
        <p:spPr>
          <a:xfrm>
            <a:off x="892969" y="3000375"/>
            <a:ext cx="7358063" cy="428625"/>
          </a:xfrm>
        </p:spPr>
        <p:txBody>
          <a:bodyPr>
            <a:normAutofit lnSpcReduction="10000"/>
          </a:bodyPr>
          <a:lstStyle/>
          <a:p>
            <a:pPr eaLnBrk="1" hangingPunct="1"/>
            <a:endParaRPr lang="en-US" altLang="en-US"/>
          </a:p>
        </p:txBody>
      </p:sp>
      <p:pic>
        <p:nvPicPr>
          <p:cNvPr id="17412" name="LINNEAN_PRESENTATIE_SLIDES11.jpg" descr="LINNEAN_PRESENTATIE_SLIDES1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5" y="-8930"/>
            <a:ext cx="913953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Tekstvak 4"/>
          <p:cNvSpPr txBox="1"/>
          <p:nvPr/>
        </p:nvSpPr>
        <p:spPr>
          <a:xfrm>
            <a:off x="405139" y="877873"/>
            <a:ext cx="7252412" cy="5913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35719" tIns="35719" rIns="35719" bIns="35719" spcCol="38100" anchor="ctr">
            <a:spAutoFit/>
          </a:bodyPr>
          <a:lstStyle/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Landelijke netwerkbijeenkomsten/ webcasts: 3 a 4 per jaar </a:t>
            </a:r>
          </a:p>
          <a:p>
            <a:pPr algn="ctr" defTabSz="410751" hangingPunct="0">
              <a:defRPr/>
            </a:pPr>
            <a:r>
              <a:rPr lang="nl-NL" sz="1687" kern="0" dirty="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specifiek thema </a:t>
            </a:r>
            <a:endParaRPr lang="en-US" sz="1687" kern="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7414" name="Afbeelding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521" y="4163467"/>
            <a:ext cx="2616398" cy="260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Afbeelding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0919" y="4031754"/>
            <a:ext cx="2686719" cy="260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6" name="Picture 2" descr="https://www.linnean.nl/inspiratie/beeldbank/253183.jpg?width=1200&amp;amp;height=-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4656" y="4429125"/>
            <a:ext cx="3214688" cy="2142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Picture 6" descr="https://www.linnean.nl/inspiratie/beeldbank/239461.jpg?width=1200&amp;amp;height=-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4910" y="1622971"/>
            <a:ext cx="2398738" cy="159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8" name="Picture 8" descr="https://www.linnean.nl/inspiratie/beeldbank/239459.jpg?width=1200&amp;amp;height=-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1322" y="1673201"/>
            <a:ext cx="3210223" cy="1888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9" name="Rechthoek 8"/>
          <p:cNvSpPr>
            <a:spLocks noChangeArrowheads="1"/>
          </p:cNvSpPr>
          <p:nvPr/>
        </p:nvSpPr>
        <p:spPr bwMode="auto">
          <a:xfrm>
            <a:off x="2200699" y="-61364"/>
            <a:ext cx="4080220" cy="93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41075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en-US" sz="3656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t doen we dan?</a:t>
            </a:r>
            <a:endParaRPr lang="en-US" altLang="en-US" sz="3656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420" name="Picture 2" descr="https://www.linnean.nl/inspiratie/bijeenkomsten+en+werkbezoeken/webcast+10+september+catharina+ziekenhuis/274045.png?Width=900&amp;Height=-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89" y="1696641"/>
            <a:ext cx="2589609" cy="1562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466751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WguIcrPM_FLSFLLdC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WguIcrPM_FLSFLLdC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CZAUdwtGS9yzdm7d7H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agCFzzqjXo8UH74_B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Ezocpy4hrveDacLFTF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agCFzzqjXo8UH74_B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NtvRjq9jGGAbuILTRB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TWjlJ8JbalSNlW4aTo0A"/>
</p:tagLst>
</file>

<file path=ppt/theme/theme1.xml><?xml version="1.0" encoding="utf-8"?>
<a:theme xmlns:a="http://schemas.openxmlformats.org/drawingml/2006/main" name="Basis">
  <a:themeElements>
    <a:clrScheme name="PUZ kleuren">
      <a:dk1>
        <a:srgbClr val="000000"/>
      </a:dk1>
      <a:lt1>
        <a:srgbClr val="FFFFFF"/>
      </a:lt1>
      <a:dk2>
        <a:srgbClr val="000000"/>
      </a:dk2>
      <a:lt2>
        <a:srgbClr val="EBEBEB"/>
      </a:lt2>
      <a:accent1>
        <a:srgbClr val="DC1946"/>
      </a:accent1>
      <a:accent2>
        <a:srgbClr val="110E72"/>
      </a:accent2>
      <a:accent3>
        <a:srgbClr val="00ADCC"/>
      </a:accent3>
      <a:accent4>
        <a:srgbClr val="DC1946"/>
      </a:accent4>
      <a:accent5>
        <a:srgbClr val="110E72"/>
      </a:accent5>
      <a:accent6>
        <a:srgbClr val="00ADCC"/>
      </a:accent6>
      <a:hlink>
        <a:srgbClr val="000000"/>
      </a:hlink>
      <a:folHlink>
        <a:srgbClr val="000000"/>
      </a:folHlink>
    </a:clrScheme>
    <a:fontScheme name="CircularPro">
      <a:majorFont>
        <a:latin typeface="CircularPro Black"/>
        <a:ea typeface=""/>
        <a:cs typeface=""/>
      </a:majorFont>
      <a:minorFont>
        <a:latin typeface="CircularPro Book"/>
        <a:ea typeface=""/>
        <a:cs typeface=""/>
      </a:minorFont>
    </a:fontScheme>
    <a:fmtScheme name="Office-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3" id="{693D2685-EE6C-0E49-9092-F4C793263052}" vid="{D36B8093-7464-AD4B-A591-032E5CAB37B6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t. Antonius-sjabloon-2017-10_basis_compleet_ENGELS-v1">
  <a:themeElements>
    <a:clrScheme name="ST Antonius Colors">
      <a:dk1>
        <a:srgbClr val="000000"/>
      </a:dk1>
      <a:lt1>
        <a:srgbClr val="F8F8F8"/>
      </a:lt1>
      <a:dk2>
        <a:srgbClr val="6F0142"/>
      </a:dk2>
      <a:lt2>
        <a:srgbClr val="FFFFFF"/>
      </a:lt2>
      <a:accent1>
        <a:srgbClr val="6F0142"/>
      </a:accent1>
      <a:accent2>
        <a:srgbClr val="E94D1A"/>
      </a:accent2>
      <a:accent3>
        <a:srgbClr val="1398D8"/>
      </a:accent3>
      <a:accent4>
        <a:srgbClr val="C1005F"/>
      </a:accent4>
      <a:accent5>
        <a:srgbClr val="149BAD"/>
      </a:accent5>
      <a:accent6>
        <a:srgbClr val="A5999A"/>
      </a:accent6>
      <a:hlink>
        <a:srgbClr val="4F3838"/>
      </a:hlink>
      <a:folHlink>
        <a:srgbClr val="935C46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>
            <a:lumMod val="5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36000" tIns="36000" rIns="36000" bIns="360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nl-NL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. Antonius PPT template ATPv7 1">
        <a:dk1>
          <a:srgbClr val="656667"/>
        </a:dk1>
        <a:lt1>
          <a:srgbClr val="FFFFFF"/>
        </a:lt1>
        <a:dk2>
          <a:srgbClr val="AA735A"/>
        </a:dk2>
        <a:lt2>
          <a:srgbClr val="644B4B"/>
        </a:lt2>
        <a:accent1>
          <a:srgbClr val="840054"/>
        </a:accent1>
        <a:accent2>
          <a:srgbClr val="B4AAAA"/>
        </a:accent2>
        <a:accent3>
          <a:srgbClr val="FFFFFF"/>
        </a:accent3>
        <a:accent4>
          <a:srgbClr val="555657"/>
        </a:accent4>
        <a:accent5>
          <a:srgbClr val="C2AAB3"/>
        </a:accent5>
        <a:accent6>
          <a:srgbClr val="A39A9A"/>
        </a:accent6>
        <a:hlink>
          <a:srgbClr val="F26522"/>
        </a:hlink>
        <a:folHlink>
          <a:srgbClr val="F79E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WP Presentatie Template">
  <a:themeElements>
    <a:clrScheme name="BWP Def">
      <a:dk1>
        <a:srgbClr val="0A385B"/>
      </a:dk1>
      <a:lt1>
        <a:srgbClr val="FFFFFF"/>
      </a:lt1>
      <a:dk2>
        <a:srgbClr val="0A385B"/>
      </a:dk2>
      <a:lt2>
        <a:srgbClr val="EEECE1"/>
      </a:lt2>
      <a:accent1>
        <a:srgbClr val="C9375A"/>
      </a:accent1>
      <a:accent2>
        <a:srgbClr val="C9375A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WP Presentatie Template.potx" id="{3A54D3A5-5B0B-40DA-9A48-70C5ADA82961}" vid="{D5A2FE34-AB65-45EC-9C56-B052930810E3}"/>
    </a:ext>
  </a:extLst>
</a:theme>
</file>

<file path=ppt/theme/theme6.xml><?xml version="1.0" encoding="utf-8"?>
<a:theme xmlns:a="http://schemas.openxmlformats.org/drawingml/2006/main" name="NFU template">
  <a:themeElements>
    <a:clrScheme name="NFU template">
      <a:dk1>
        <a:srgbClr val="373737"/>
      </a:dk1>
      <a:lt1>
        <a:srgbClr val="FFFFFF"/>
      </a:lt1>
      <a:dk2>
        <a:srgbClr val="A7A7A7"/>
      </a:dk2>
      <a:lt2>
        <a:srgbClr val="535353"/>
      </a:lt2>
      <a:accent1>
        <a:srgbClr val="2B598F"/>
      </a:accent1>
      <a:accent2>
        <a:srgbClr val="BD0538"/>
      </a:accent2>
      <a:accent3>
        <a:srgbClr val="87388F"/>
      </a:accent3>
      <a:accent4>
        <a:srgbClr val="19A059"/>
      </a:accent4>
      <a:accent5>
        <a:srgbClr val="F1A000"/>
      </a:accent5>
      <a:accent6>
        <a:srgbClr val="8F9E9E"/>
      </a:accent6>
      <a:hlink>
        <a:srgbClr val="0000FF"/>
      </a:hlink>
      <a:folHlink>
        <a:srgbClr val="FF00FF"/>
      </a:folHlink>
    </a:clrScheme>
    <a:fontScheme name="NFU templat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NFU templa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36000" tIns="36000" rIns="36000" bIns="36000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73737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373737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UZ_Presentatie_v1</Template>
  <TotalTime>635</TotalTime>
  <Words>1961</Words>
  <Application>Microsoft Office PowerPoint</Application>
  <PresentationFormat>Diavoorstelling (4:3)</PresentationFormat>
  <Paragraphs>418</Paragraphs>
  <Slides>58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21</vt:i4>
      </vt:variant>
      <vt:variant>
        <vt:lpstr>Thema</vt:lpstr>
      </vt:variant>
      <vt:variant>
        <vt:i4>6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8</vt:i4>
      </vt:variant>
    </vt:vector>
  </HeadingPairs>
  <TitlesOfParts>
    <vt:vector size="86" baseType="lpstr">
      <vt:lpstr>MS PGothic</vt:lpstr>
      <vt:lpstr>Alwyn</vt:lpstr>
      <vt:lpstr>Alwyn Bold</vt:lpstr>
      <vt:lpstr>Alwyn Light</vt:lpstr>
      <vt:lpstr>Alwyn Medium</vt:lpstr>
      <vt:lpstr>Arial</vt:lpstr>
      <vt:lpstr>Calibri</vt:lpstr>
      <vt:lpstr>Calibri Light</vt:lpstr>
      <vt:lpstr>CircularPro Black</vt:lpstr>
      <vt:lpstr>CircularPro Book</vt:lpstr>
      <vt:lpstr>Helvetica</vt:lpstr>
      <vt:lpstr>Helvetica Neue</vt:lpstr>
      <vt:lpstr>Helvetica Neue Light</vt:lpstr>
      <vt:lpstr>Helvetica Neue Medium</vt:lpstr>
      <vt:lpstr>Helvetica Neue Thin</vt:lpstr>
      <vt:lpstr>Lato</vt:lpstr>
      <vt:lpstr>Lucida Grande</vt:lpstr>
      <vt:lpstr>Systeemlettertype regulier</vt:lpstr>
      <vt:lpstr>Times</vt:lpstr>
      <vt:lpstr>Times New Roman</vt:lpstr>
      <vt:lpstr>Wingdings</vt:lpstr>
      <vt:lpstr>Basis</vt:lpstr>
      <vt:lpstr>White</vt:lpstr>
      <vt:lpstr>Kantoorthema</vt:lpstr>
      <vt:lpstr>St. Antonius-sjabloon-2017-10_basis_compleet_ENGELS-v1</vt:lpstr>
      <vt:lpstr>BWP Presentatie Template</vt:lpstr>
      <vt:lpstr>NFU template</vt:lpstr>
      <vt:lpstr>think-cell Slide</vt:lpstr>
      <vt:lpstr>Landelijke conferentie Uitkomstgerichte Zorg </vt:lpstr>
      <vt:lpstr>Agenda</vt:lpstr>
      <vt:lpstr> Bent U zelf onderwezen in Waardegedreven Zorg?  Zo ja, waar / door wie?</vt:lpstr>
      <vt:lpstr>Agenda</vt:lpstr>
      <vt:lpstr>PowerPoint-presentatie</vt:lpstr>
      <vt:lpstr>PowerPoint-presentatie</vt:lpstr>
      <vt:lpstr>PowerPoint-presentatie</vt:lpstr>
      <vt:lpstr>PowerPoint-presentatie</vt:lpstr>
      <vt:lpstr>PowerPoint-presentatie</vt:lpstr>
      <vt:lpstr> Geeft U zelf onderwijs  in waardegedreven Zorg?  Zo ja, aan wie?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Agenda</vt:lpstr>
      <vt:lpstr>Opleiding en scholing staan centraal in transformatie naar waardegedreven zorg</vt:lpstr>
      <vt:lpstr>Advies Linnean werkgroep</vt:lpstr>
      <vt:lpstr>Advies 1</vt:lpstr>
      <vt:lpstr>Aandachtspunten opleiding/scholing</vt:lpstr>
      <vt:lpstr> De mensen die WGZ-onderwijs hebben gegeven of ontvangen, was dit in het basiscurriculum, de vervolgopleidingen of bij bij- en nascholingen?</vt:lpstr>
      <vt:lpstr>Advies 2</vt:lpstr>
      <vt:lpstr>Principes (in het kort)</vt:lpstr>
      <vt:lpstr>Implementatie</vt:lpstr>
      <vt:lpstr>Randvoorwaarden</vt:lpstr>
      <vt:lpstr>Advies 3</vt:lpstr>
      <vt:lpstr>Advies 4</vt:lpstr>
      <vt:lpstr>Adviezen 2, 3 en 4 gecombineerd</vt:lpstr>
      <vt:lpstr>Advies Linnean werkgroep</vt:lpstr>
      <vt:lpstr>Ronde Tafel 20 mei</vt:lpstr>
      <vt:lpstr>Wie wil er met ons aan de slag?</vt:lpstr>
      <vt:lpstr>Agenda</vt:lpstr>
      <vt:lpstr> Advanced Training Program  Waardegedreven Zorg </vt:lpstr>
      <vt:lpstr>Doel &amp; doelgroep</vt:lpstr>
      <vt:lpstr>Van theorie naar praktijk</vt:lpstr>
      <vt:lpstr>PowerPoint-presentatie</vt:lpstr>
      <vt:lpstr>Onderwerpen</vt:lpstr>
      <vt:lpstr>Agenda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Agenda</vt:lpstr>
      <vt:lpstr>Landelijke conferentie Uitkomstgerichte zorg</vt:lpstr>
      <vt:lpstr>PowerPoint-presentatie</vt:lpstr>
      <vt:lpstr>Opleiden in relevante (maatschappelijke) thema’s</vt:lpstr>
      <vt:lpstr>PowerPoint-presentatie</vt:lpstr>
      <vt:lpstr>PowerPoint-presentatie</vt:lpstr>
      <vt:lpstr>Online courses: Kennis van zorgkosten en Waardegedreven zorg &amp; Verandermanagement </vt:lpstr>
      <vt:lpstr>PowerPoint-presentatie</vt:lpstr>
      <vt:lpstr>Agenda</vt:lpstr>
    </vt:vector>
  </TitlesOfParts>
  <Manager/>
  <Company>Rijksoverheid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ma ontwikkeling uitkomstgerichte zorg</dc:title>
  <dc:subject/>
  <dc:creator>Flik, F.C.W. (Frederiek)</dc:creator>
  <cp:keywords/>
  <dc:description>Programma Uitkomstgerichte Zorg presentatie
Versie 1 - februari 2021
Ontwerp: Things To Make And Do
Template: Ton Persoon</dc:description>
  <cp:lastModifiedBy>Linde, M. van der (Matthijs)</cp:lastModifiedBy>
  <cp:revision>61</cp:revision>
  <dcterms:created xsi:type="dcterms:W3CDTF">2021-04-21T11:32:52Z</dcterms:created>
  <dcterms:modified xsi:type="dcterms:W3CDTF">2021-06-08T11:17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DOCS AutoSave">
    <vt:lpwstr>20210608131425441</vt:lpwstr>
  </property>
</Properties>
</file>